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  <p:sldMasterId id="2147483713" r:id="rId2"/>
    <p:sldMasterId id="2147483727" r:id="rId3"/>
    <p:sldMasterId id="2147483735" r:id="rId4"/>
  </p:sldMasterIdLst>
  <p:notesMasterIdLst>
    <p:notesMasterId r:id="rId12"/>
  </p:notesMasterIdLst>
  <p:handoutMasterIdLst>
    <p:handoutMasterId r:id="rId13"/>
  </p:handoutMasterIdLst>
  <p:sldIdLst>
    <p:sldId id="452" r:id="rId5"/>
    <p:sldId id="525" r:id="rId6"/>
    <p:sldId id="477" r:id="rId7"/>
    <p:sldId id="517" r:id="rId8"/>
    <p:sldId id="518" r:id="rId9"/>
    <p:sldId id="519" r:id="rId10"/>
    <p:sldId id="524" r:id="rId11"/>
  </p:sldIdLst>
  <p:sldSz cx="9906000" cy="6858000" type="A4"/>
  <p:notesSz cx="6797675" cy="9928225"/>
  <p:embeddedFontLst>
    <p:embeddedFont>
      <p:font typeface="Microsoft YaHei" panose="020B0503020204020204" pitchFamily="34" charset="-122"/>
      <p:regular r:id="rId14"/>
      <p:bold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</p:embeddedFontLst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Автор" initials="A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06736"/>
    <a:srgbClr val="61FFB4"/>
    <a:srgbClr val="808284"/>
    <a:srgbClr val="FDB933"/>
    <a:srgbClr val="F8ED53"/>
    <a:srgbClr val="68A3D8"/>
    <a:srgbClr val="FF9966"/>
    <a:srgbClr val="7186EC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27" autoAdjust="0"/>
    <p:restoredTop sz="94671" autoAdjust="0"/>
  </p:normalViewPr>
  <p:slideViewPr>
    <p:cSldViewPr showGuides="1">
      <p:cViewPr>
        <p:scale>
          <a:sx n="100" d="100"/>
          <a:sy n="100" d="100"/>
        </p:scale>
        <p:origin x="-1182" y="0"/>
      </p:cViewPr>
      <p:guideLst>
        <p:guide orient="horz"/>
        <p:guide pos="6239"/>
      </p:guideLst>
    </p:cSldViewPr>
  </p:slideViewPr>
  <p:outlineViewPr>
    <p:cViewPr>
      <p:scale>
        <a:sx n="33" d="100"/>
        <a:sy n="33" d="100"/>
      </p:scale>
      <p:origin x="0" y="394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18528"/>
    </p:cViewPr>
  </p:sorterViewPr>
  <p:notesViewPr>
    <p:cSldViewPr showGuides="1">
      <p:cViewPr>
        <p:scale>
          <a:sx n="200" d="100"/>
          <a:sy n="200" d="100"/>
        </p:scale>
        <p:origin x="-1350" y="594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3.fntdata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66101694915255E-2"/>
          <c:y val="6.14035087719298E-2"/>
          <c:w val="0.95338983050847514"/>
          <c:h val="0.90350877192982459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6236544"/>
        <c:axId val="126238080"/>
      </c:barChart>
      <c:catAx>
        <c:axId val="126236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680">
            <a:solidFill>
              <a:schemeClr val="tx1"/>
            </a:solidFill>
            <a:prstDash val="solid"/>
          </a:ln>
        </c:spPr>
        <c:crossAx val="12623808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26238080"/>
        <c:scaling>
          <c:orientation val="minMax"/>
          <c:max val="800"/>
          <c:min val="0"/>
        </c:scaling>
        <c:delete val="0"/>
        <c:axPos val="l"/>
        <c:numFmt formatCode="#,##0;\-#,##0" sourceLinked="1"/>
        <c:majorTickMark val="none"/>
        <c:minorTickMark val="none"/>
        <c:tickLblPos val="none"/>
        <c:spPr>
          <a:ln w="9510">
            <a:noFill/>
          </a:ln>
        </c:spPr>
        <c:crossAx val="126236544"/>
        <c:crosses val="autoZero"/>
        <c:crossBetween val="between"/>
        <c:majorUnit val="200"/>
      </c:valAx>
      <c:spPr>
        <a:noFill/>
        <a:ln w="2536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27439B-8527-44C0-866A-742800EE6B2E}" type="datetimeFigureOut">
              <a:rPr lang="ru-RU" smtClean="0"/>
              <a:pPr/>
              <a:t>23.06.2016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483B10-B17C-4CFE-915D-3561C5B8B4C5}" type="slidenum">
              <a:rPr lang="ru-RU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3869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B49A0-2BBF-494C-9F35-A0C8AC83758A}" type="datetimeFigureOut">
              <a:rPr lang="ru-RU" smtClean="0"/>
              <a:pPr/>
              <a:t>23.06.2016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4D6E79-4789-4D20-B95C-8A7D12A55445}" type="slidenum">
              <a:rPr lang="ru-RU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756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4D6E79-4789-4D20-B95C-8A7D12A55445}" type="slidenum">
              <a:rPr lang="ru-RU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2841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34541" y="643632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>
              <a:cs typeface="Arial" pitchFamily="34" charset="0"/>
            </a:endParaRPr>
          </a:p>
          <a:p>
            <a:endParaRPr lang="ru-RU" altLang="ru-RU" dirty="0" smtClean="0">
              <a:cs typeface="Arial" pitchFamily="34" charset="0"/>
            </a:endParaRPr>
          </a:p>
          <a:p>
            <a:endParaRPr lang="ru-RU" altLang="ru-RU" dirty="0">
              <a:cs typeface="Arial" pitchFamily="34" charset="0"/>
            </a:endParaRPr>
          </a:p>
          <a:p>
            <a:pPr>
              <a:defRPr/>
            </a:pPr>
            <a:r>
              <a:rPr lang="ru-RU" altLang="ru-RU" dirty="0" smtClean="0">
                <a:cs typeface="Arial" pitchFamily="34" charset="0"/>
              </a:rPr>
              <a:t>- </a:t>
            </a:r>
          </a:p>
        </p:txBody>
      </p:sp>
      <p:sp>
        <p:nvSpPr>
          <p:cNvPr id="624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03E4B8D-767C-490A-ADC6-B4DCE69B50C5}" type="slidenum">
              <a:rPr kumimoji="0" lang="ru-RU" altLang="ru-RU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2</a:t>
            </a:fld>
            <a:endParaRPr kumimoji="0" lang="en-US" altLang="ru-RU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 dirty="0"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4D6E79-4789-4D20-B95C-8A7D12A55445}" type="slidenum">
              <a:rPr lang="ru-RU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4957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4D6E79-4789-4D20-B95C-8A7D12A55445}" type="slidenum">
              <a:rPr lang="ru-RU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7114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4D6E79-4789-4D20-B95C-8A7D12A55445}" type="slidenum">
              <a:rPr lang="ru-RU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306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4D6E79-4789-4D20-B95C-8A7D12A55445}" type="slidenum">
              <a:rPr lang="ru-RU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7795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4D6E79-4789-4D20-B95C-8A7D12A55445}" type="slidenum">
              <a:rPr lang="ru-RU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922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46701" y="5013325"/>
            <a:ext cx="5282763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Имя выступающего </a:t>
            </a:r>
            <a:r>
              <a:rPr lang="en-US" dirty="0" smtClean="0"/>
              <a:t>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ru-RU" dirty="0" smtClean="0"/>
              <a:t>Должность выступающего </a:t>
            </a:r>
            <a:r>
              <a:rPr lang="en-US" dirty="0" smtClean="0"/>
              <a:t>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354458" y="6165850"/>
            <a:ext cx="3042311" cy="692150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902671" y="692150"/>
            <a:ext cx="3226793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76536" y="3500439"/>
            <a:ext cx="8346150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349126" y="3716338"/>
            <a:ext cx="7780338" cy="1296987"/>
          </a:xfrm>
        </p:spPr>
        <p:txBody>
          <a:bodyPr anchor="t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Подзаголовок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96714" y="2565400"/>
            <a:ext cx="8032750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r>
              <a:rPr lang="ru-RU" dirty="0" smtClean="0"/>
              <a:t>Заголовок </a:t>
            </a:r>
            <a:r>
              <a:rPr lang="ru-RU" b="1" dirty="0" smtClean="0"/>
              <a:t>т</a:t>
            </a:r>
            <a:r>
              <a:rPr lang="en-US" b="1" dirty="0" err="1" smtClean="0"/>
              <a:t>итульн</a:t>
            </a:r>
            <a:r>
              <a:rPr lang="ru-RU" b="1" dirty="0" smtClean="0"/>
              <a:t>ого</a:t>
            </a:r>
            <a:r>
              <a:rPr lang="en-US" b="1" dirty="0" smtClean="0"/>
              <a:t> </a:t>
            </a:r>
            <a:r>
              <a:rPr lang="en-US" b="1" dirty="0" err="1" smtClean="0"/>
              <a:t>слайд</a:t>
            </a:r>
            <a:r>
              <a:rPr lang="ru-RU" b="1" dirty="0" smtClean="0"/>
              <a:t>а</a:t>
            </a:r>
            <a:r>
              <a:rPr lang="en-US" b="1" dirty="0" smtClean="0"/>
              <a:t>:</a:t>
            </a:r>
          </a:p>
          <a:p>
            <a:r>
              <a:rPr lang="en-US" dirty="0" smtClean="0"/>
              <a:t>(Arial 24 </a:t>
            </a:r>
            <a:r>
              <a:rPr lang="ru-RU" dirty="0" err="1" smtClean="0"/>
              <a:t>пт</a:t>
            </a:r>
            <a:r>
              <a:rPr lang="en-US" dirty="0" smtClean="0"/>
              <a:t>, RGB 0-103-54)</a:t>
            </a:r>
            <a:endParaRPr lang="ru-RU" dirty="0" smtClean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512" y="663422"/>
            <a:ext cx="1350268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152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66636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194867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11242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1312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idx="10"/>
          </p:nvPr>
        </p:nvSpPr>
        <p:spPr>
          <a:xfrm>
            <a:off x="1760" y="1620"/>
            <a:ext cx="1755" cy="20405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45467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"/>
              <a:t>Click to edit Master title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idx="10"/>
          </p:nvPr>
        </p:nvSpPr>
        <p:spPr>
          <a:xfrm>
            <a:off x="1760" y="1620"/>
            <a:ext cx="1755" cy="204055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03791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lIns="95599" tIns="47799" rIns="95599" bIns="47799"/>
          <a:lstStyle/>
          <a:p>
            <a:pPr defTabSz="913837" fontAlgn="base">
              <a:spcBef>
                <a:spcPct val="0"/>
              </a:spcBef>
              <a:spcAft>
                <a:spcPct val="0"/>
              </a:spcAft>
            </a:pPr>
            <a:fld id="{2C7BB430-90CB-4720-87BB-EC06DE7A8467}" type="datetimeFigureOut">
              <a:rPr lang="ru-RU" sz="1700" smtClean="0">
                <a:solidFill>
                  <a:srgbClr val="000000"/>
                </a:solidFill>
              </a:rPr>
              <a:pPr defTabSz="913837" fontAlgn="base">
                <a:spcBef>
                  <a:spcPct val="0"/>
                </a:spcBef>
                <a:spcAft>
                  <a:spcPct val="0"/>
                </a:spcAft>
              </a:pPr>
              <a:t>23.06.2016</a:t>
            </a:fld>
            <a:endParaRPr lang="ru-RU" sz="170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1" y="6356350"/>
            <a:ext cx="3136900" cy="365125"/>
          </a:xfrm>
          <a:prstGeom prst="rect">
            <a:avLst/>
          </a:prstGeom>
        </p:spPr>
        <p:txBody>
          <a:bodyPr lIns="95599" tIns="47799" rIns="95599" bIns="47799"/>
          <a:lstStyle/>
          <a:p>
            <a:pPr defTabSz="913837" fontAlgn="base">
              <a:spcBef>
                <a:spcPct val="0"/>
              </a:spcBef>
              <a:spcAft>
                <a:spcPct val="0"/>
              </a:spcAft>
            </a:pPr>
            <a:endParaRPr lang="ru-RU" sz="1700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lIns="95599" tIns="47799" rIns="95599" bIns="47799"/>
          <a:lstStyle/>
          <a:p>
            <a:pPr defTabSz="913837" fontAlgn="base">
              <a:spcBef>
                <a:spcPct val="0"/>
              </a:spcBef>
              <a:spcAft>
                <a:spcPct val="0"/>
              </a:spcAft>
            </a:pPr>
            <a:fld id="{02128355-23AF-438C-AA90-18AC7F50CA6D}" type="slidenum">
              <a:rPr lang="ru-RU" sz="1700" smtClean="0">
                <a:solidFill>
                  <a:srgbClr val="000000"/>
                </a:solidFill>
              </a:rPr>
              <a:pPr defTabSz="91383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7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006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9187" y="260648"/>
            <a:ext cx="8060176" cy="768000"/>
          </a:xfrm>
        </p:spPr>
        <p:txBody>
          <a:bodyPr vert="horz" lIns="91258" tIns="45627" rIns="91258" bIns="45627" rtlCol="0" anchor="b">
            <a:normAutofit/>
          </a:bodyPr>
          <a:lstStyle>
            <a:lvl1pPr>
              <a:defRPr lang="ru-RU" dirty="0"/>
            </a:lvl1pPr>
          </a:lstStyle>
          <a:p>
            <a:r>
              <a:rPr lang="en-US" sz="2200" dirty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548664" y="1268414"/>
            <a:ext cx="8850049" cy="784830"/>
          </a:xfrm>
        </p:spPr>
        <p:txBody>
          <a:bodyPr/>
          <a:lstStyle>
            <a:lvl1pPr marL="270928" indent="-270928">
              <a:buClr>
                <a:schemeClr val="accent2"/>
              </a:buClr>
              <a:buSzPct val="120000"/>
              <a:buFont typeface="Arial" panose="020B0604020202020204" pitchFamily="34" charset="0"/>
              <a:buChar char="•"/>
              <a:defRPr/>
            </a:lvl1pPr>
            <a:lvl2pPr>
              <a:buClr>
                <a:schemeClr val="accent2"/>
              </a:buClr>
              <a:buSzPct val="120000"/>
              <a:defRPr/>
            </a:lvl2pPr>
            <a:lvl3pPr>
              <a:defRPr>
                <a:solidFill>
                  <a:schemeClr val="tx1"/>
                </a:solidFill>
              </a:defRPr>
            </a:lvl3pPr>
            <a:lvl4pPr marL="1368879" indent="0">
              <a:buNone/>
              <a:defRPr/>
            </a:lvl4pPr>
            <a:lvl5pPr marL="1825180" indent="0">
              <a:buNone/>
              <a:defRPr/>
            </a:lvl5pPr>
          </a:lstStyle>
          <a:p>
            <a:pPr lvl="0"/>
            <a:r>
              <a:rPr lang="en-US" dirty="0"/>
              <a:t>Text example</a:t>
            </a:r>
            <a:endParaRPr lang="ru-RU" dirty="0"/>
          </a:p>
          <a:p>
            <a:pPr lvl="1"/>
            <a:r>
              <a:rPr lang="en-US" dirty="0"/>
              <a:t>Second level</a:t>
            </a:r>
            <a:endParaRPr lang="ru-RU" dirty="0"/>
          </a:p>
          <a:p>
            <a:pPr lvl="2"/>
            <a:r>
              <a:rPr lang="en-US" dirty="0"/>
              <a:t>- Third level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549326" y="6381763"/>
            <a:ext cx="4715009" cy="219820"/>
          </a:xfrm>
        </p:spPr>
        <p:txBody>
          <a:bodyPr/>
          <a:lstStyle>
            <a:lvl1pPr marL="0" indent="0" algn="l">
              <a:buNone/>
              <a:defRPr sz="700" i="1" baseline="0"/>
            </a:lvl1pPr>
          </a:lstStyle>
          <a:p>
            <a:r>
              <a:rPr lang="en-US" sz="700" i="1" dirty="0">
                <a:latin typeface="Arial" pitchFamily="34" charset="0"/>
                <a:cs typeface="Arial" pitchFamily="34" charset="0"/>
              </a:rPr>
              <a:t>Sources: Arial 8pt,</a:t>
            </a:r>
            <a:r>
              <a:rPr lang="ru-RU" sz="700" i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700" i="1" dirty="0">
                <a:latin typeface="Arial" pitchFamily="34" charset="0"/>
                <a:cs typeface="Arial" pitchFamily="34" charset="0"/>
              </a:rPr>
              <a:t>Black, Italic                                                                                                        Maximum two lines. Please put it in the same place on all slides. </a:t>
            </a:r>
            <a:endParaRPr lang="ru-RU" sz="700" i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5996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27731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3316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9188" y="260648"/>
            <a:ext cx="8060176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baseline="0" dirty="0"/>
            </a:lvl1pPr>
          </a:lstStyle>
          <a:p>
            <a:r>
              <a:rPr lang="ru-RU" dirty="0" smtClean="0"/>
              <a:t>Заголовок - выводы </a:t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жирный шрифт, RGB 0-103-54, макс. 2 строк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00472" y="1268414"/>
            <a:ext cx="9433048" cy="4896890"/>
          </a:xfrm>
        </p:spPr>
        <p:txBody>
          <a:bodyPr/>
          <a:lstStyle>
            <a:lvl1pPr>
              <a:buClr>
                <a:srgbClr val="88BB43"/>
              </a:buClr>
              <a:buSzPct val="120000"/>
              <a:defRPr/>
            </a:lvl1pPr>
            <a:lvl2pPr>
              <a:defRPr/>
            </a:lvl2pPr>
            <a:lvl3pPr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smtClean="0"/>
              <a:t>Пример текста</a:t>
            </a:r>
          </a:p>
          <a:p>
            <a:pPr lvl="1"/>
            <a:r>
              <a:rPr lang="ru-RU" dirty="0" smtClean="0"/>
              <a:t>Текст второго уровня</a:t>
            </a:r>
          </a:p>
          <a:p>
            <a:pPr lvl="2"/>
            <a:r>
              <a:rPr lang="en-US" dirty="0" smtClean="0"/>
              <a:t>- </a:t>
            </a:r>
            <a:r>
              <a:rPr lang="ru-RU" dirty="0" smtClean="0"/>
              <a:t>Текст третьего уровня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507340" y="6381751"/>
            <a:ext cx="4756944" cy="460375"/>
          </a:xfrm>
        </p:spPr>
        <p:txBody>
          <a:bodyPr/>
          <a:lstStyle>
            <a:lvl1pPr>
              <a:buNone/>
              <a:defRPr sz="800" i="1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44226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1"/>
            <a:ext cx="8997697" cy="1513235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6897" indent="-230245">
              <a:spcBef>
                <a:spcPts val="384"/>
              </a:spcBef>
              <a:defRPr/>
            </a:lvl2pPr>
            <a:lvl3pPr marL="913797" indent="-230245">
              <a:spcBef>
                <a:spcPts val="384"/>
              </a:spcBef>
              <a:defRPr/>
            </a:lvl3pPr>
            <a:lvl4pPr marL="1374290" indent="-233845">
              <a:spcBef>
                <a:spcPts val="384"/>
              </a:spcBef>
              <a:defRPr/>
            </a:lvl4pPr>
            <a:lvl5pPr marL="2057840" indent="-230245"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14575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46701" y="5013325"/>
            <a:ext cx="5282763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  <a:ea typeface="微软雅黑" panose="020B0503020204020204" pitchFamily="34" charset="-12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выступающего </a:t>
            </a:r>
            <a:r>
              <a:rPr lang="en-US" dirty="0"/>
              <a:t>(Arial 1</a:t>
            </a:r>
            <a:r>
              <a:rPr lang="ru-RU" dirty="0"/>
              <a:t>2</a:t>
            </a:r>
            <a:r>
              <a:rPr lang="en-US" dirty="0"/>
              <a:t> </a:t>
            </a:r>
            <a:r>
              <a:rPr lang="en-US" dirty="0" err="1"/>
              <a:t>pt</a:t>
            </a:r>
            <a:r>
              <a:rPr lang="en-US" dirty="0"/>
              <a:t>)</a:t>
            </a:r>
            <a:br>
              <a:rPr lang="en-US" dirty="0"/>
            </a:br>
            <a:r>
              <a:rPr lang="ru-RU" dirty="0"/>
              <a:t>Должность выступающего </a:t>
            </a:r>
            <a:r>
              <a:rPr lang="en-US" dirty="0"/>
              <a:t>(Arial 1</a:t>
            </a:r>
            <a:r>
              <a:rPr lang="ru-RU" dirty="0"/>
              <a:t>2</a:t>
            </a:r>
            <a:r>
              <a:rPr lang="en-US" dirty="0"/>
              <a:t> </a:t>
            </a:r>
            <a:r>
              <a:rPr lang="en-US" dirty="0" err="1"/>
              <a:t>pt</a:t>
            </a:r>
            <a:r>
              <a:rPr lang="en-US" dirty="0"/>
              <a:t>)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354458" y="6165850"/>
            <a:ext cx="3042311" cy="692150"/>
          </a:xfrm>
        </p:spPr>
        <p:txBody>
          <a:bodyPr>
            <a:normAutofit/>
          </a:bodyPr>
          <a:lstStyle>
            <a:lvl1pPr marL="0" indent="0" algn="ctr">
              <a:buNone/>
              <a:defRPr sz="1050" baseline="0">
                <a:solidFill>
                  <a:schemeClr val="bg2">
                    <a:lumMod val="50000"/>
                  </a:schemeClr>
                </a:solidFill>
                <a:ea typeface="微软雅黑" panose="020B0503020204020204" pitchFamily="34" charset="-12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902671" y="692150"/>
            <a:ext cx="3226793" cy="1656730"/>
          </a:xfrm>
        </p:spPr>
        <p:txBody>
          <a:bodyPr/>
          <a:lstStyle>
            <a:lvl1pPr>
              <a:defRPr baseline="0">
                <a:ea typeface="微软雅黑" panose="020B0503020204020204" pitchFamily="34" charset="-122"/>
              </a:defRPr>
            </a:lvl1pPr>
          </a:lstStyle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76536" y="3500439"/>
            <a:ext cx="8346150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349126" y="3716338"/>
            <a:ext cx="7780338" cy="1296987"/>
          </a:xfrm>
        </p:spPr>
        <p:txBody>
          <a:bodyPr anchor="t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  <a:ea typeface="微软雅黑" panose="020B0503020204020204" pitchFamily="34" charset="-122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Подзаголовок </a:t>
            </a:r>
            <a:r>
              <a:rPr lang="en-US" dirty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96714" y="2565400"/>
            <a:ext cx="8032750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  <a:ea typeface="微软雅黑" panose="020B0503020204020204" pitchFamily="34" charset="-122"/>
              </a:defRPr>
            </a:lvl1pPr>
            <a:lvl2pPr>
              <a:buNone/>
              <a:defRPr/>
            </a:lvl2pPr>
          </a:lstStyle>
          <a:p>
            <a:r>
              <a:rPr lang="ru-RU" dirty="0"/>
              <a:t>Заголовок </a:t>
            </a:r>
            <a:r>
              <a:rPr lang="ru-RU" b="1" dirty="0"/>
              <a:t>т</a:t>
            </a:r>
            <a:r>
              <a:rPr lang="en-US" b="1" dirty="0" err="1"/>
              <a:t>итульн</a:t>
            </a:r>
            <a:r>
              <a:rPr lang="ru-RU" b="1" dirty="0"/>
              <a:t>ого</a:t>
            </a:r>
            <a:r>
              <a:rPr lang="en-US" b="1" dirty="0"/>
              <a:t> </a:t>
            </a:r>
            <a:r>
              <a:rPr lang="en-US" b="1" dirty="0" err="1"/>
              <a:t>слайд</a:t>
            </a:r>
            <a:r>
              <a:rPr lang="ru-RU" b="1" dirty="0"/>
              <a:t>а</a:t>
            </a:r>
            <a:r>
              <a:rPr lang="en-US" b="1" dirty="0"/>
              <a:t>:</a:t>
            </a:r>
          </a:p>
          <a:p>
            <a:r>
              <a:rPr lang="en-US" dirty="0"/>
              <a:t>(Arial 24 </a:t>
            </a:r>
            <a:r>
              <a:rPr lang="ru-RU" dirty="0" err="1"/>
              <a:t>пт</a:t>
            </a:r>
            <a:r>
              <a:rPr lang="en-US" dirty="0"/>
              <a:t>, RGB 0-103-54)</a:t>
            </a:r>
            <a:endParaRPr lang="ru-RU" dirty="0"/>
          </a:p>
        </p:txBody>
      </p:sp>
      <p:pic>
        <p:nvPicPr>
          <p:cNvPr id="312322" name="Picture 2" descr="logo_ILIM_e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2" y="700289"/>
            <a:ext cx="1353312" cy="564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logo_ILIM_e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70" y="692150"/>
            <a:ext cx="1353312" cy="564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86728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9188" y="260648"/>
            <a:ext cx="8060176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baseline="0" dirty="0">
                <a:ea typeface="微软雅黑" panose="020B0503020204020204" pitchFamily="34" charset="-122"/>
              </a:defRPr>
            </a:lvl1pPr>
          </a:lstStyle>
          <a:p>
            <a:r>
              <a:rPr lang="ru-RU" dirty="0"/>
              <a:t>Заголовок - выводы </a:t>
            </a:r>
            <a:br>
              <a:rPr lang="ru-RU" dirty="0"/>
            </a:br>
            <a:r>
              <a:rPr lang="ru-RU" dirty="0" err="1"/>
              <a:t>Arial</a:t>
            </a:r>
            <a:r>
              <a:rPr lang="ru-RU" dirty="0"/>
              <a:t> 22 </a:t>
            </a:r>
            <a:r>
              <a:rPr lang="ru-RU" dirty="0" err="1"/>
              <a:t>пт</a:t>
            </a:r>
            <a:r>
              <a:rPr lang="ru-RU" dirty="0"/>
              <a:t>, жирный шрифт, RGB 0-103-54, макс. 2 строк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00472" y="1268414"/>
            <a:ext cx="9433048" cy="4896890"/>
          </a:xfrm>
        </p:spPr>
        <p:txBody>
          <a:bodyPr/>
          <a:lstStyle>
            <a:lvl1pPr>
              <a:buClr>
                <a:srgbClr val="88BB43"/>
              </a:buClr>
              <a:buSzPct val="120000"/>
              <a:defRPr>
                <a:ea typeface="微软雅黑" panose="020B0503020204020204" pitchFamily="34" charset="-122"/>
              </a:defRPr>
            </a:lvl1pPr>
            <a:lvl2pPr>
              <a:defRPr>
                <a:ea typeface="微软雅黑" panose="020B0503020204020204" pitchFamily="34" charset="-122"/>
              </a:defRPr>
            </a:lvl2pPr>
            <a:lvl3pPr>
              <a:defRPr>
                <a:ea typeface="微软雅黑" panose="020B0503020204020204" pitchFamily="34" charset="-122"/>
              </a:defRPr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Пример текста</a:t>
            </a:r>
          </a:p>
          <a:p>
            <a:pPr lvl="1"/>
            <a:r>
              <a:rPr lang="ru-RU" dirty="0"/>
              <a:t>Текст второго уровня</a:t>
            </a:r>
          </a:p>
          <a:p>
            <a:pPr lvl="2"/>
            <a:r>
              <a:rPr lang="en-US" dirty="0"/>
              <a:t>- </a:t>
            </a:r>
            <a:r>
              <a:rPr lang="ru-RU" dirty="0"/>
              <a:t>Текст третьего уровня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507340" y="6381751"/>
            <a:ext cx="4756944" cy="460375"/>
          </a:xfrm>
        </p:spPr>
        <p:txBody>
          <a:bodyPr/>
          <a:lstStyle>
            <a:lvl1pPr>
              <a:buNone/>
              <a:defRPr sz="800" i="1">
                <a:ea typeface="微软雅黑" panose="020B0503020204020204" pitchFamily="34" charset="-122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32133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eatse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26829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270974" y="1268761"/>
            <a:ext cx="9362546" cy="4752628"/>
          </a:xfrm>
        </p:spPr>
        <p:txBody>
          <a:bodyPr/>
          <a:lstStyle>
            <a:lvl1pPr>
              <a:defRPr baseline="0">
                <a:ea typeface="微软雅黑" panose="020B0503020204020204" pitchFamily="34" charset="-122"/>
              </a:defRPr>
            </a:lvl1pPr>
            <a:lvl2pPr marL="361950" indent="0">
              <a:buNone/>
              <a:defRPr/>
            </a:lvl2pPr>
            <a:lvl3pPr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9188" y="260648"/>
            <a:ext cx="8060176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baseline="0" dirty="0">
                <a:solidFill>
                  <a:schemeClr val="accent1"/>
                </a:solidFill>
                <a:ea typeface="微软雅黑" panose="020B0503020204020204" pitchFamily="34" charset="-122"/>
              </a:defRPr>
            </a:lvl1pPr>
          </a:lstStyle>
          <a:p>
            <a:r>
              <a:rPr lang="en-US" sz="2200" dirty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9240191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baseline="0">
                <a:ea typeface="微软雅黑" panose="020B0503020204020204" pitchFamily="34" charset="-122"/>
              </a:defRPr>
            </a:lvl1pPr>
          </a:lstStyle>
          <a:p>
            <a:fld id="{92C79ACF-BB52-447A-91FE-5F96605BD699}" type="datetimeFigureOut">
              <a:rPr lang="ru-RU" smtClean="0">
                <a:solidFill>
                  <a:srgbClr val="161616"/>
                </a:solidFill>
              </a:rPr>
              <a:pPr/>
              <a:t>23.06.2016</a:t>
            </a:fld>
            <a:endParaRPr lang="ru-RU">
              <a:solidFill>
                <a:srgbClr val="161616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 baseline="0">
                <a:ea typeface="微软雅黑" panose="020B0503020204020204" pitchFamily="34" charset="-122"/>
              </a:defRPr>
            </a:lvl1pPr>
          </a:lstStyle>
          <a:p>
            <a:endParaRPr lang="ru-RU">
              <a:solidFill>
                <a:srgbClr val="161616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baseline="0">
                <a:ea typeface="微软雅黑" panose="020B0503020204020204" pitchFamily="34" charset="-122"/>
              </a:defRPr>
            </a:lvl1pPr>
          </a:lstStyle>
          <a:p>
            <a:fld id="{A1D7BC83-E187-4288-8EF8-19B30241F5BB}" type="slidenum">
              <a:rPr lang="ru-RU" smtClean="0">
                <a:solidFill>
                  <a:srgbClr val="161616"/>
                </a:solidFill>
              </a:rPr>
              <a:pPr/>
              <a:t>‹#›</a:t>
            </a:fld>
            <a:endParaRPr lang="ru-RU">
              <a:solidFill>
                <a:srgbClr val="16161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1762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50118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9188" y="260648"/>
            <a:ext cx="8060176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baseline="0" dirty="0"/>
            </a:lvl1pPr>
          </a:lstStyle>
          <a:p>
            <a:r>
              <a:rPr lang="ru-RU" dirty="0" smtClean="0"/>
              <a:t>Заголовок - выводы </a:t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жирный шрифт, RGB 0-103-54, макс. 2 строк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00472" y="1268414"/>
            <a:ext cx="9433048" cy="4896890"/>
          </a:xfrm>
        </p:spPr>
        <p:txBody>
          <a:bodyPr/>
          <a:lstStyle>
            <a:lvl1pPr>
              <a:buClr>
                <a:srgbClr val="88BB43"/>
              </a:buClr>
              <a:buSzPct val="120000"/>
              <a:defRPr/>
            </a:lvl1pPr>
            <a:lvl2pPr>
              <a:defRPr/>
            </a:lvl2pPr>
            <a:lvl3pPr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smtClean="0"/>
              <a:t>Пример текста</a:t>
            </a:r>
          </a:p>
          <a:p>
            <a:pPr lvl="1"/>
            <a:r>
              <a:rPr lang="ru-RU" dirty="0" smtClean="0"/>
              <a:t>Текст второго уровня</a:t>
            </a:r>
          </a:p>
          <a:p>
            <a:pPr lvl="2"/>
            <a:r>
              <a:rPr lang="en-US" dirty="0" smtClean="0"/>
              <a:t>- </a:t>
            </a:r>
            <a:r>
              <a:rPr lang="ru-RU" dirty="0" smtClean="0"/>
              <a:t>Текст третьего уровня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507340" y="6381751"/>
            <a:ext cx="4756944" cy="460375"/>
          </a:xfrm>
        </p:spPr>
        <p:txBody>
          <a:bodyPr/>
          <a:lstStyle>
            <a:lvl1pPr>
              <a:buNone/>
              <a:defRPr sz="800" i="1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00325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eatse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0437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eatse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7631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270974" y="1268761"/>
            <a:ext cx="9362546" cy="4752628"/>
          </a:xfrm>
        </p:spPr>
        <p:txBody>
          <a:bodyPr/>
          <a:lstStyle>
            <a:lvl1pPr>
              <a:defRPr baseline="0"/>
            </a:lvl1pPr>
            <a:lvl2pPr marL="361950" indent="0">
              <a:buNone/>
              <a:defRPr/>
            </a:lvl2pPr>
            <a:lvl3pPr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9188" y="260648"/>
            <a:ext cx="8060176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0881612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9188" y="260648"/>
            <a:ext cx="8060176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dirty="0">
                <a:solidFill>
                  <a:schemeClr val="accent1"/>
                </a:solidFill>
              </a:defRPr>
            </a:lvl1pPr>
          </a:lstStyle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7534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92C79ACF-BB52-447A-91FE-5F96605BD699}" type="datetimeFigureOut">
              <a:rPr lang="ru-RU" smtClean="0"/>
              <a:t>23.06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A1D7BC83-E187-4288-8EF8-19B30241F5B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42737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769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6541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10607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3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83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0"/>
            <a:ext cx="3377528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3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srgbClr val="000000"/>
                </a:solidFill>
              </a:rPr>
              <a:t>Last Modified 11.08.2015 18:46 Russia TZ 2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3" y="668970"/>
            <a:ext cx="302326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3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srgbClr val="000000"/>
                </a:solidFill>
              </a:rPr>
              <a:t>Printed 10.08.2015 14:16 Russia TZ 2 Standard Time</a:t>
            </a:r>
            <a:endParaRPr lang="ru-RU" sz="1000" dirty="0">
              <a:solidFill>
                <a:srgbClr val="000000"/>
              </a:solidFill>
            </a:endParaRPr>
          </a:p>
        </p:txBody>
      </p:sp>
      <p:grpSp>
        <p:nvGrpSpPr>
          <p:cNvPr id="8" name="Title Elements" hidden="1"/>
          <p:cNvGrpSpPr>
            <a:grpSpLocks/>
          </p:cNvGrpSpPr>
          <p:nvPr/>
        </p:nvGrpSpPr>
        <p:grpSpPr bwMode="auto">
          <a:xfrm>
            <a:off x="4" y="15"/>
            <a:ext cx="9902490" cy="6859620"/>
            <a:chOff x="0" y="0"/>
            <a:chExt cx="5643" cy="423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83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500" dirty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83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500" dirty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37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37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37" fontAlgn="base">
                <a:spcBef>
                  <a:spcPct val="0"/>
                </a:spcBef>
                <a:spcAft>
                  <a:spcPct val="0"/>
                </a:spcAft>
              </a:pPr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60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94" y="2176952"/>
            <a:ext cx="5455757" cy="1046440"/>
          </a:xfrm>
          <a:prstGeom prst="rect">
            <a:avLst/>
          </a:prstGeom>
        </p:spPr>
        <p:txBody>
          <a:bodyPr/>
          <a:lstStyle>
            <a:lvl1pPr>
              <a:defRPr sz="34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94" y="3945699"/>
            <a:ext cx="5455757" cy="230832"/>
          </a:xfrm>
        </p:spPr>
        <p:txBody>
          <a:bodyPr>
            <a:spAutoFit/>
          </a:bodyPr>
          <a:lstStyle>
            <a:lvl1pPr>
              <a:defRPr sz="15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26284043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1629" y="234877"/>
            <a:ext cx="8519211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72542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4.jpeg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3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6.jpe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1.emf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8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heme" Target="../theme/theme4.xml"/><Relationship Id="rId7" Type="http://schemas.openxmlformats.org/officeDocument/2006/relationships/tags" Target="../tags/tag15.xml"/><Relationship Id="rId12" Type="http://schemas.openxmlformats.org/officeDocument/2006/relationships/image" Target="../media/image2.jp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14.xml"/><Relationship Id="rId11" Type="http://schemas.openxmlformats.org/officeDocument/2006/relationships/image" Target="../media/image1.emf"/><Relationship Id="rId5" Type="http://schemas.openxmlformats.org/officeDocument/2006/relationships/tags" Target="../tags/tag13.xml"/><Relationship Id="rId10" Type="http://schemas.openxmlformats.org/officeDocument/2006/relationships/oleObject" Target="../embeddings/oleObject4.bin"/><Relationship Id="rId4" Type="http://schemas.openxmlformats.org/officeDocument/2006/relationships/vmlDrawing" Target="../drawings/vmlDrawing4.vml"/><Relationship Id="rId9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07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172220" y="260351"/>
            <a:ext cx="8056984" cy="7691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 smtClean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194471" y="1268761"/>
            <a:ext cx="9439049" cy="5040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cxnSp>
        <p:nvCxnSpPr>
          <p:cNvPr id="9" name="Прямая соединительная линия 8"/>
          <p:cNvCxnSpPr/>
          <p:nvPr userDrawn="1">
            <p:custDataLst>
              <p:tags r:id="rId13"/>
            </p:custDataLst>
          </p:nvPr>
        </p:nvCxnSpPr>
        <p:spPr>
          <a:xfrm>
            <a:off x="272480" y="1028733"/>
            <a:ext cx="9361040" cy="0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8541401" y="6525351"/>
            <a:ext cx="1163855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22C84-AFB0-4ECA-B636-37B0130E7E3D}" type="slidenum">
              <a:rPr lang="ru-RU" sz="10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4988" y="435905"/>
            <a:ext cx="1350268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828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6" r:id="rId2"/>
    <p:sldLayoutId id="2147483706" r:id="rId3"/>
    <p:sldLayoutId id="2147483707" r:id="rId4"/>
    <p:sldLayoutId id="2147483708" r:id="rId5"/>
    <p:sldLayoutId id="2147483709" r:id="rId6"/>
    <p:sldLayoutId id="2147483711" r:id="rId7"/>
  </p:sldLayoutIdLst>
  <p:timing>
    <p:tnLst>
      <p:par>
        <p:cTn id="1" dur="indefinite" restart="never" nodeType="tmRoot"/>
      </p:par>
    </p:tnLst>
  </p:timing>
  <p:txStyles>
    <p:titleStyle>
      <a:lvl1pPr marL="0" algn="l" defTabSz="914400" rtl="0" eaLnBrk="1" latinLnBrk="0" hangingPunct="1">
        <a:spcBef>
          <a:spcPct val="0"/>
        </a:spcBef>
        <a:buNone/>
        <a:defRPr lang="ru-RU" sz="2200" b="1" kern="1200" baseline="0" dirty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271463" indent="-271463" algn="l" defTabSz="914400" rtl="0" eaLnBrk="1" latinLnBrk="0" hangingPunct="1">
        <a:spcBef>
          <a:spcPts val="0"/>
        </a:spcBef>
        <a:spcAft>
          <a:spcPts val="900"/>
        </a:spcAft>
        <a:buFont typeface="Arial" pitchFamily="34" charset="0"/>
        <a:buChar char="•"/>
        <a:defRPr lang="ru-RU" sz="1400" kern="1200" dirty="0" smtClean="0">
          <a:solidFill>
            <a:schemeClr val="tx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622300" indent="-260350" algn="l" defTabSz="914400" rtl="0" eaLnBrk="1" latinLnBrk="0" hangingPunct="1">
        <a:spcBef>
          <a:spcPts val="0"/>
        </a:spcBef>
        <a:spcAft>
          <a:spcPts val="600"/>
        </a:spcAft>
        <a:buClr>
          <a:schemeClr val="accent1">
            <a:lumMod val="75000"/>
          </a:schemeClr>
        </a:buClr>
        <a:buFont typeface="Arial" pitchFamily="34" charset="0"/>
        <a:buChar char="•"/>
        <a:defRPr lang="ru-RU" sz="1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tabLst/>
        <a:defRPr lang="ru-RU" sz="1400" kern="1200" baseline="0" dirty="0" smtClean="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51681483"/>
              </p:ext>
            </p:ext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62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05290" y="1980960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3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Last Modified 11.08.2015 18:46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12693" y="4198941"/>
            <a:ext cx="183223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3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Printed 10.08.2015 14:16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7"/>
            <a:ext cx="4755582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29" y="234877"/>
            <a:ext cx="851010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31613" y="27536"/>
            <a:ext cx="920124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837" fontAlgn="base">
              <a:spcBef>
                <a:spcPct val="0"/>
              </a:spcBef>
              <a:spcAft>
                <a:spcPct val="0"/>
              </a:spcAft>
            </a:pPr>
            <a:r>
              <a:rPr lang="ru-RU" sz="15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31612" y="542630"/>
            <a:ext cx="952695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31613" y="6295159"/>
            <a:ext cx="9449744" cy="460751"/>
            <a:chOff x="75" y="3799"/>
            <a:chExt cx="5385" cy="379"/>
          </a:xfrm>
        </p:grpSpPr>
        <p:sp>
          <p:nvSpPr>
            <p:cNvPr id="13" name="4. Footnote" hidden="1"/>
            <p:cNvSpPr txBox="1">
              <a:spLocks noChangeArrowheads="1"/>
            </p:cNvSpPr>
            <p:nvPr/>
          </p:nvSpPr>
          <p:spPr bwMode="auto">
            <a:xfrm>
              <a:off x="75" y="379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5. Source" hidden="1"/>
            <p:cNvSpPr>
              <a:spLocks noChangeArrowheads="1"/>
            </p:cNvSpPr>
            <p:nvPr/>
          </p:nvSpPr>
          <p:spPr bwMode="auto">
            <a:xfrm>
              <a:off x="75" y="4051"/>
              <a:ext cx="5067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51200" indent="-651200" defTabSz="956450" fontAlgn="base">
                <a:spcBef>
                  <a:spcPct val="0"/>
                </a:spcBef>
                <a:spcAft>
                  <a:spcPct val="0"/>
                </a:spcAft>
                <a:tabLst>
                  <a:tab pos="654591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</a:t>
              </a:r>
              <a:r>
                <a:rPr lang="ru-RU" sz="1000" dirty="0">
                  <a:solidFill>
                    <a:srgbClr val="000000"/>
                  </a:solidFill>
                </a:rPr>
                <a:t>: </a:t>
              </a:r>
              <a:r>
                <a:rPr lang="en-US" sz="1000" dirty="0">
                  <a:solidFill>
                    <a:srgbClr val="000000"/>
                  </a:solidFill>
                </a:rPr>
                <a:t>SOURCE</a:t>
              </a:r>
              <a:endParaRPr lang="ru-RU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27342"/>
            <a:ext cx="4713466" cy="540994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837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7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837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7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 userDrawn="1"/>
        </p:nvSpPr>
        <p:spPr>
          <a:xfrm>
            <a:off x="9446240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383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808080"/>
                </a:solidFill>
              </a:rPr>
              <a:pPr defTabSz="91383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cxnSp>
        <p:nvCxnSpPr>
          <p:cNvPr id="18" name="Прямая соединительная линия 8"/>
          <p:cNvCxnSpPr/>
          <p:nvPr userDrawn="1"/>
        </p:nvCxnSpPr>
        <p:spPr>
          <a:xfrm>
            <a:off x="272481" y="1028733"/>
            <a:ext cx="9361040" cy="0"/>
          </a:xfrm>
          <a:prstGeom prst="line">
            <a:avLst/>
          </a:prstGeom>
          <a:ln w="19050">
            <a:solidFill>
              <a:srgbClr val="82C45B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7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8353" y="442746"/>
            <a:ext cx="1248139" cy="480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718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</p:sldLayoutIdLst>
  <p:hf hdr="0" ftr="0" dt="0"/>
  <p:txStyles>
    <p:titleStyle>
      <a:lvl1pPr algn="l" defTabSz="956450" rtl="0" eaLnBrk="1" fontAlgn="base" hangingPunct="1">
        <a:spcBef>
          <a:spcPct val="0"/>
        </a:spcBef>
        <a:spcAft>
          <a:spcPct val="0"/>
        </a:spcAft>
        <a:tabLst>
          <a:tab pos="381567" algn="l"/>
        </a:tabLst>
        <a:defRPr sz="2000" b="1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564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64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64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64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400" algn="l" defTabSz="9564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6799" algn="l" defTabSz="9564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5200" algn="l" defTabSz="9564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3599" algn="l" defTabSz="95645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64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206890" indent="-205196" algn="l" defTabSz="95645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5000"/>
        <a:buFont typeface="Arial" charset="0"/>
        <a:buChar char="▪"/>
        <a:defRPr sz="1700">
          <a:solidFill>
            <a:schemeClr val="tx1"/>
          </a:solidFill>
          <a:latin typeface="+mn-lt"/>
        </a:defRPr>
      </a:lvl2pPr>
      <a:lvl3pPr marL="488400" indent="-279812" algn="l" defTabSz="95645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–"/>
        <a:defRPr sz="1700">
          <a:solidFill>
            <a:schemeClr val="tx1"/>
          </a:solidFill>
          <a:latin typeface="+mn-lt"/>
        </a:defRPr>
      </a:lvl3pPr>
      <a:lvl4pPr marL="656289" indent="-166189" algn="l" defTabSz="95645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20000"/>
        <a:buFont typeface="Arial" charset="0"/>
        <a:buChar char="▫"/>
        <a:defRPr sz="1700">
          <a:solidFill>
            <a:schemeClr val="tx1"/>
          </a:solidFill>
          <a:latin typeface="+mn-lt"/>
        </a:defRPr>
      </a:lvl4pPr>
      <a:lvl5pPr marL="800976" indent="-139057" algn="l" defTabSz="95645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5pPr>
      <a:lvl6pPr marL="800976" indent="-139057" algn="l" defTabSz="9564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800976" indent="-139057" algn="l" defTabSz="9564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800976" indent="-139057" algn="l" defTabSz="9564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800976" indent="-139057" algn="l" defTabSz="9564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67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400" algn="l" defTabSz="9767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6799" algn="l" defTabSz="9767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5200" algn="l" defTabSz="9767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3599" algn="l" defTabSz="9767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1997" algn="l" defTabSz="9767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0396" algn="l" defTabSz="9767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798" algn="l" defTabSz="9767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7198" algn="l" defTabSz="97679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33064285"/>
              </p:ext>
            </p:ext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86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72220" y="260351"/>
            <a:ext cx="8056984" cy="7691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200" dirty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194471" y="1268761"/>
            <a:ext cx="9439049" cy="5040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Text example</a:t>
            </a:r>
            <a:endParaRPr lang="ru-RU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- Third level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>
            <p:custDataLst>
              <p:tags r:id="rId12"/>
            </p:custDataLst>
          </p:nvPr>
        </p:nvCxnSpPr>
        <p:spPr>
          <a:xfrm>
            <a:off x="272480" y="1028733"/>
            <a:ext cx="9361040" cy="0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/>
          <p:cNvSpPr txBox="1">
            <a:spLocks/>
          </p:cNvSpPr>
          <p:nvPr userDrawn="1">
            <p:custDataLst>
              <p:tags r:id="rId13"/>
            </p:custDataLst>
          </p:nvPr>
        </p:nvSpPr>
        <p:spPr>
          <a:xfrm>
            <a:off x="8541401" y="6525351"/>
            <a:ext cx="1163855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22C84-AFB0-4ECA-B636-37B0130E7E3D}" type="slidenum">
              <a:rPr lang="ru-RU" sz="1000" smtClean="0">
                <a:solidFill>
                  <a:srgbClr val="FFFFFF">
                    <a:lumMod val="50000"/>
                  </a:srgbClr>
                </a:solidFill>
                <a:cs typeface="Arial" pitchFamily="34" charset="0"/>
              </a:rPr>
              <a:pPr/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12" name="Picture 2" descr="logo_ILIM_e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466" y="332656"/>
            <a:ext cx="1353312" cy="564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8445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txStyles>
    <p:titleStyle>
      <a:lvl1pPr marL="0" algn="l" defTabSz="914400" rtl="0" eaLnBrk="1" latinLnBrk="0" hangingPunct="1">
        <a:spcBef>
          <a:spcPct val="0"/>
        </a:spcBef>
        <a:buNone/>
        <a:defRPr lang="ru-RU" sz="2200" b="1" kern="1200" baseline="0" dirty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271463" indent="-271463" algn="l" defTabSz="914400" rtl="0" eaLnBrk="1" latinLnBrk="0" hangingPunct="1">
        <a:spcBef>
          <a:spcPts val="0"/>
        </a:spcBef>
        <a:spcAft>
          <a:spcPts val="900"/>
        </a:spcAft>
        <a:buFont typeface="Arial" pitchFamily="34" charset="0"/>
        <a:buChar char="•"/>
        <a:defRPr lang="ru-RU" sz="1400" kern="1200" dirty="0" smtClean="0">
          <a:solidFill>
            <a:schemeClr val="tx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622300" indent="-260350" algn="l" defTabSz="914400" rtl="0" eaLnBrk="1" latinLnBrk="0" hangingPunct="1">
        <a:spcBef>
          <a:spcPts val="0"/>
        </a:spcBef>
        <a:spcAft>
          <a:spcPts val="600"/>
        </a:spcAft>
        <a:buClr>
          <a:schemeClr val="accent1">
            <a:lumMod val="75000"/>
          </a:schemeClr>
        </a:buClr>
        <a:buFont typeface="Arial" pitchFamily="34" charset="0"/>
        <a:buChar char="•"/>
        <a:defRPr lang="ru-RU" sz="1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tabLst/>
        <a:defRPr lang="ru-RU" sz="1400" kern="1200" baseline="0" dirty="0" smtClean="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5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72220" y="260351"/>
            <a:ext cx="8056984" cy="7691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 smtClean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>
          <a:xfrm>
            <a:off x="194471" y="1268761"/>
            <a:ext cx="9439049" cy="5040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cxnSp>
        <p:nvCxnSpPr>
          <p:cNvPr id="9" name="Прямая соединительная линия 8"/>
          <p:cNvCxnSpPr/>
          <p:nvPr userDrawn="1">
            <p:custDataLst>
              <p:tags r:id="rId8"/>
            </p:custDataLst>
          </p:nvPr>
        </p:nvCxnSpPr>
        <p:spPr>
          <a:xfrm>
            <a:off x="272480" y="1028733"/>
            <a:ext cx="9361040" cy="0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8541401" y="6525351"/>
            <a:ext cx="1163855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22C84-AFB0-4ECA-B636-37B0130E7E3D}" type="slidenum">
              <a:rPr lang="ru-RU" sz="1000" smtClean="0">
                <a:solidFill>
                  <a:srgbClr val="FFFFFF">
                    <a:lumMod val="50000"/>
                  </a:srgbClr>
                </a:solidFill>
                <a:cs typeface="Arial" pitchFamily="34" charset="0"/>
              </a:rPr>
              <a:pPr/>
              <a:t>‹#›</a:t>
            </a:fld>
            <a:endParaRPr lang="ru-RU" sz="1000" dirty="0">
              <a:solidFill>
                <a:srgbClr val="FFFFFF">
                  <a:lumMod val="50000"/>
                </a:srgbClr>
              </a:solidFill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4988" y="435905"/>
            <a:ext cx="1350268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876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</p:sldLayoutIdLst>
  <p:timing>
    <p:tnLst>
      <p:par>
        <p:cTn id="1" dur="indefinite" restart="never" nodeType="tmRoot"/>
      </p:par>
    </p:tnLst>
  </p:timing>
  <p:txStyles>
    <p:titleStyle>
      <a:lvl1pPr marL="0" algn="l" defTabSz="914400" rtl="0" eaLnBrk="1" latinLnBrk="0" hangingPunct="1">
        <a:spcBef>
          <a:spcPct val="0"/>
        </a:spcBef>
        <a:buNone/>
        <a:defRPr lang="ru-RU" sz="2200" b="1" kern="1200" baseline="0" dirty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271463" indent="-271463" algn="l" defTabSz="914400" rtl="0" eaLnBrk="1" latinLnBrk="0" hangingPunct="1">
        <a:spcBef>
          <a:spcPts val="0"/>
        </a:spcBef>
        <a:spcAft>
          <a:spcPts val="900"/>
        </a:spcAft>
        <a:buFont typeface="Arial" pitchFamily="34" charset="0"/>
        <a:buChar char="•"/>
        <a:defRPr lang="ru-RU" sz="1400" kern="1200" dirty="0" smtClean="0">
          <a:solidFill>
            <a:schemeClr val="tx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622300" indent="-260350" algn="l" defTabSz="914400" rtl="0" eaLnBrk="1" latinLnBrk="0" hangingPunct="1">
        <a:spcBef>
          <a:spcPts val="0"/>
        </a:spcBef>
        <a:spcAft>
          <a:spcPts val="600"/>
        </a:spcAft>
        <a:buClr>
          <a:schemeClr val="accent1">
            <a:lumMod val="75000"/>
          </a:schemeClr>
        </a:buClr>
        <a:buFont typeface="Arial" pitchFamily="34" charset="0"/>
        <a:buChar char="•"/>
        <a:defRPr lang="ru-RU" sz="1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tabLst/>
        <a:defRPr lang="ru-RU" sz="1400" kern="1200" baseline="0" dirty="0" smtClean="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8.emf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21.xml"/><Relationship Id="rId7" Type="http://schemas.openxmlformats.org/officeDocument/2006/relationships/oleObject" Target="../embeddings/oleObject6.bin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Попова Татьяна Викторовна</a:t>
            </a:r>
            <a:endParaRPr dirty="0" smtClean="0"/>
          </a:p>
          <a:p>
            <a:r>
              <a:rPr lang="ru-RU" dirty="0" smtClean="0"/>
              <a:t>Н</a:t>
            </a:r>
            <a:r>
              <a:rPr dirty="0" smtClean="0"/>
              <a:t>ачальник отдела переводов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А</a:t>
            </a:r>
            <a:r>
              <a:rPr dirty="0" smtClean="0"/>
              <a:t>страхань, июль 2016 года</a:t>
            </a:r>
            <a:endParaRPr lang="en-US" dirty="0"/>
          </a:p>
        </p:txBody>
      </p:sp>
      <p:sp>
        <p:nvSpPr>
          <p:cNvPr id="8" name="Рисунок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1280592" y="3789040"/>
            <a:ext cx="8032750" cy="935038"/>
          </a:xfrm>
        </p:spPr>
        <p:txBody>
          <a:bodyPr>
            <a:noAutofit/>
          </a:bodyPr>
          <a:lstStyle/>
          <a:p>
            <a:pPr algn="ctr"/>
            <a:r>
              <a:rPr lang="ru-RU" altLang="ru-RU" sz="2200" dirty="0" smtClean="0"/>
              <a:t>Эволюция переводческого сервиса в </a:t>
            </a:r>
            <a:r>
              <a:rPr lang="ru-RU" altLang="ru-RU" sz="2200" dirty="0"/>
              <a:t>ОАО «Группа «</a:t>
            </a:r>
            <a:r>
              <a:rPr lang="ru-RU" altLang="ru-RU" sz="2200" dirty="0" smtClean="0"/>
              <a:t>Илим»</a:t>
            </a:r>
            <a:endParaRPr lang="en-US" sz="2200" dirty="0"/>
          </a:p>
        </p:txBody>
      </p:sp>
      <p:pic>
        <p:nvPicPr>
          <p:cNvPr id="9" name="Рисунок 8" descr="img26-high.jpg"/>
          <p:cNvPicPr>
            <a:picLocks noChangeAspect="1"/>
          </p:cNvPicPr>
          <p:nvPr/>
        </p:nvPicPr>
        <p:blipFill>
          <a:blip r:embed="rId3" cstate="print"/>
          <a:srcRect t="2444" b="2444"/>
          <a:stretch>
            <a:fillRect/>
          </a:stretch>
        </p:blipFill>
        <p:spPr>
          <a:xfrm>
            <a:off x="5889104" y="692696"/>
            <a:ext cx="3226793" cy="1656730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014702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705831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2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2" y="0"/>
            <a:ext cx="171451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9461" name="Rectangle 45"/>
          <p:cNvSpPr>
            <a:spLocks noChangeArrowheads="1"/>
          </p:cNvSpPr>
          <p:nvPr/>
        </p:nvSpPr>
        <p:spPr bwMode="auto">
          <a:xfrm>
            <a:off x="3" y="-184666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Aft>
                <a:spcPts val="900"/>
              </a:spcAft>
              <a:buFont typeface="Arial" pitchFamily="34" charset="0"/>
              <a:buChar char="•"/>
              <a:defRPr kumimoji="1">
                <a:solidFill>
                  <a:srgbClr val="0B0B0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Aft>
                <a:spcPts val="600"/>
              </a:spcAft>
              <a:buFont typeface="Arial" pitchFamily="34" charset="0"/>
              <a:buChar char="–"/>
              <a:defRPr kumimoj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Aft>
                <a:spcPts val="600"/>
              </a:spcAft>
              <a:buFont typeface="Arial" pitchFamily="34" charset="0"/>
              <a:defRPr kumimoji="1" sz="160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Aft>
                <a:spcPct val="0"/>
              </a:spcAft>
              <a:buFontTx/>
              <a:buNone/>
            </a:pPr>
            <a:endParaRPr kumimoji="0" lang="ru-RU" altLang="ru-RU">
              <a:solidFill>
                <a:srgbClr val="161616"/>
              </a:solidFill>
            </a:endParaRPr>
          </a:p>
        </p:txBody>
      </p:sp>
      <p:pic>
        <p:nvPicPr>
          <p:cNvPr id="1946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8738" y="1125538"/>
            <a:ext cx="3209925" cy="165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4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8738" y="2889250"/>
            <a:ext cx="3224212" cy="165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5" name="Picture 5" descr="C:\Users\atamanov.mv\Desktop\bb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8738" y="4652963"/>
            <a:ext cx="3224212" cy="184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200472" y="1268414"/>
            <a:ext cx="5904656" cy="4896890"/>
          </a:xfrm>
        </p:spPr>
        <p:txBody>
          <a:bodyPr>
            <a:normAutofit fontScale="92500" lnSpcReduction="20000"/>
          </a:bodyPr>
          <a:lstStyle/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r>
              <a:rPr lang="ru-RU" altLang="ru-RU" sz="1600" dirty="0">
                <a:solidFill>
                  <a:srgbClr val="161616"/>
                </a:solidFill>
              </a:rPr>
              <a:t>Крупнейшая целлюлозно-бумажная компания в России </a:t>
            </a:r>
            <a:r>
              <a:rPr lang="en-US" altLang="ru-RU" sz="1600" dirty="0" smtClean="0">
                <a:solidFill>
                  <a:srgbClr val="161616"/>
                </a:solidFill>
              </a:rPr>
              <a:t/>
            </a:r>
            <a:br>
              <a:rPr lang="en-US" altLang="ru-RU" sz="1600" dirty="0" smtClean="0">
                <a:solidFill>
                  <a:srgbClr val="161616"/>
                </a:solidFill>
              </a:rPr>
            </a:br>
            <a:r>
              <a:rPr lang="ru-RU" altLang="ru-RU" sz="1600" dirty="0" smtClean="0">
                <a:solidFill>
                  <a:srgbClr val="161616"/>
                </a:solidFill>
              </a:rPr>
              <a:t>и </a:t>
            </a:r>
            <a:r>
              <a:rPr lang="ru-RU" altLang="ru-RU" sz="1600" dirty="0">
                <a:solidFill>
                  <a:srgbClr val="161616"/>
                </a:solidFill>
              </a:rPr>
              <a:t>странах СНГ, один из лидеров мировой ЦБП </a:t>
            </a: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endParaRPr lang="en-US" altLang="ru-RU" sz="1600" dirty="0">
              <a:solidFill>
                <a:srgbClr val="161616"/>
              </a:solidFill>
            </a:endParaRP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r>
              <a:rPr lang="ru-RU" altLang="ru-RU" sz="1600" dirty="0">
                <a:solidFill>
                  <a:srgbClr val="161616"/>
                </a:solidFill>
              </a:rPr>
              <a:t>Совместное предприятие 50</a:t>
            </a:r>
            <a:r>
              <a:rPr lang="en-US" altLang="ru-RU" sz="1600" dirty="0">
                <a:solidFill>
                  <a:srgbClr val="161616"/>
                </a:solidFill>
              </a:rPr>
              <a:t>/50 </a:t>
            </a:r>
            <a:r>
              <a:rPr lang="ru-RU" altLang="ru-RU" sz="1600" dirty="0">
                <a:solidFill>
                  <a:srgbClr val="161616"/>
                </a:solidFill>
              </a:rPr>
              <a:t>с крупнейшей в мире </a:t>
            </a:r>
            <a:r>
              <a:rPr lang="ru-RU" altLang="ru-RU" sz="1600" dirty="0" smtClean="0">
                <a:solidFill>
                  <a:srgbClr val="161616"/>
                </a:solidFill>
              </a:rPr>
              <a:t>целлюлозно-бумажной </a:t>
            </a:r>
            <a:r>
              <a:rPr lang="ru-RU" altLang="ru-RU" sz="1600" dirty="0">
                <a:solidFill>
                  <a:srgbClr val="161616"/>
                </a:solidFill>
              </a:rPr>
              <a:t>компанией International Paper</a:t>
            </a: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endParaRPr lang="ru-RU" altLang="ru-RU" sz="1600" dirty="0">
              <a:solidFill>
                <a:srgbClr val="161616"/>
              </a:solidFill>
            </a:endParaRP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r>
              <a:rPr lang="ru-RU" altLang="ru-RU" sz="1600" dirty="0" smtClean="0">
                <a:solidFill>
                  <a:srgbClr val="161616"/>
                </a:solidFill>
              </a:rPr>
              <a:t>Один из крупнейших поставщиков </a:t>
            </a:r>
            <a:r>
              <a:rPr lang="ru-RU" altLang="ru-RU" sz="1600" dirty="0">
                <a:solidFill>
                  <a:srgbClr val="161616"/>
                </a:solidFill>
              </a:rPr>
              <a:t>беленой хвойной целлюлозы на рынок Китая </a:t>
            </a: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endParaRPr lang="ru-RU" altLang="ru-RU" sz="1600" dirty="0">
              <a:solidFill>
                <a:srgbClr val="161616"/>
              </a:solidFill>
            </a:endParaRP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r>
              <a:rPr lang="ru-RU" altLang="ru-RU" sz="1600" dirty="0">
                <a:solidFill>
                  <a:srgbClr val="161616"/>
                </a:solidFill>
              </a:rPr>
              <a:t>Мировой лидер добровольной FSC </a:t>
            </a:r>
            <a:r>
              <a:rPr lang="ru-RU" altLang="ru-RU" sz="1600" dirty="0" smtClean="0">
                <a:solidFill>
                  <a:srgbClr val="161616"/>
                </a:solidFill>
              </a:rPr>
              <a:t>сертификации</a:t>
            </a:r>
            <a:endParaRPr lang="ru-RU" altLang="ru-RU" sz="1600" dirty="0">
              <a:solidFill>
                <a:srgbClr val="161616"/>
              </a:solidFill>
            </a:endParaRP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endParaRPr lang="ru-RU" altLang="ru-RU" sz="1600" dirty="0">
              <a:solidFill>
                <a:srgbClr val="161616"/>
              </a:solidFill>
            </a:endParaRP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r>
              <a:rPr lang="ru-RU" altLang="ru-RU" sz="1600" dirty="0" smtClean="0">
                <a:solidFill>
                  <a:srgbClr val="161616"/>
                </a:solidFill>
              </a:rPr>
              <a:t>Основные виды </a:t>
            </a:r>
            <a:r>
              <a:rPr lang="ru-RU" altLang="ru-RU" sz="1600" dirty="0">
                <a:solidFill>
                  <a:srgbClr val="161616"/>
                </a:solidFill>
              </a:rPr>
              <a:t>производимой продукции: целлюлоза, картон, бумага</a:t>
            </a: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endParaRPr lang="ru-RU" altLang="ru-RU" sz="1600" dirty="0">
              <a:solidFill>
                <a:srgbClr val="161616"/>
              </a:solidFill>
            </a:endParaRP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r>
              <a:rPr lang="ru-RU" altLang="ru-RU" sz="1600" dirty="0">
                <a:solidFill>
                  <a:srgbClr val="161616"/>
                </a:solidFill>
              </a:rPr>
              <a:t>В компанию входят:</a:t>
            </a:r>
          </a:p>
          <a:p>
            <a:pPr lvl="1" indent="101600">
              <a:spcAft>
                <a:spcPct val="0"/>
              </a:spcAft>
              <a:buClr>
                <a:srgbClr val="006736"/>
              </a:buClr>
              <a:buNone/>
            </a:pPr>
            <a:r>
              <a:rPr lang="ru-RU" altLang="ru-RU" sz="1600" dirty="0">
                <a:solidFill>
                  <a:srgbClr val="161616"/>
                </a:solidFill>
              </a:rPr>
              <a:t>- производственные и лесозаготовительные филиалы, расположенные в Коряжме (Архангельская обл.), </a:t>
            </a:r>
          </a:p>
          <a:p>
            <a:pPr lvl="1" indent="101600">
              <a:spcAft>
                <a:spcPct val="0"/>
              </a:spcAft>
              <a:buClr>
                <a:srgbClr val="006736"/>
              </a:buClr>
              <a:buNone/>
            </a:pPr>
            <a:r>
              <a:rPr lang="ru-RU" altLang="ru-RU" sz="1600" dirty="0">
                <a:solidFill>
                  <a:srgbClr val="161616"/>
                </a:solidFill>
              </a:rPr>
              <a:t>Братске и Усть-Илимске (Иркутская обл.), </a:t>
            </a:r>
          </a:p>
          <a:p>
            <a:pPr lvl="1" indent="101600">
              <a:spcAft>
                <a:spcPct val="0"/>
              </a:spcAft>
              <a:buClr>
                <a:srgbClr val="006736"/>
              </a:buClr>
              <a:buFontTx/>
              <a:buChar char="-"/>
            </a:pPr>
            <a:r>
              <a:rPr lang="ru-RU" altLang="ru-RU" sz="1600" dirty="0">
                <a:solidFill>
                  <a:srgbClr val="161616"/>
                </a:solidFill>
              </a:rPr>
              <a:t>завод по производству </a:t>
            </a:r>
            <a:r>
              <a:rPr lang="ru-RU" altLang="ru-RU" sz="1600" dirty="0" err="1">
                <a:solidFill>
                  <a:srgbClr val="161616"/>
                </a:solidFill>
              </a:rPr>
              <a:t>гофротары</a:t>
            </a:r>
            <a:r>
              <a:rPr lang="ru-RU" altLang="ru-RU" sz="1600" dirty="0">
                <a:solidFill>
                  <a:srgbClr val="161616"/>
                </a:solidFill>
              </a:rPr>
              <a:t> (Ленинградская обл.), </a:t>
            </a:r>
          </a:p>
          <a:p>
            <a:pPr lvl="1" indent="101600">
              <a:spcAft>
                <a:spcPct val="0"/>
              </a:spcAft>
              <a:buClr>
                <a:srgbClr val="006736"/>
              </a:buClr>
              <a:buFontTx/>
              <a:buChar char="-"/>
            </a:pPr>
            <a:r>
              <a:rPr lang="ru-RU" altLang="ru-RU" sz="1600" dirty="0">
                <a:solidFill>
                  <a:srgbClr val="161616"/>
                </a:solidFill>
              </a:rPr>
              <a:t>региональные сервисные предприятия, действующие на Северо-Западе России и в Иркутской </a:t>
            </a:r>
            <a:r>
              <a:rPr lang="ru-RU" altLang="ru-RU" sz="1600" dirty="0" smtClean="0">
                <a:solidFill>
                  <a:srgbClr val="161616"/>
                </a:solidFill>
              </a:rPr>
              <a:t>области</a:t>
            </a:r>
            <a:endParaRPr lang="en-US" altLang="ru-RU" sz="1600" dirty="0" smtClean="0">
              <a:solidFill>
                <a:srgbClr val="161616"/>
              </a:solidFill>
            </a:endParaRPr>
          </a:p>
          <a:p>
            <a:pPr lvl="1" indent="101600">
              <a:spcAft>
                <a:spcPct val="0"/>
              </a:spcAft>
              <a:buClr>
                <a:srgbClr val="006736"/>
              </a:buClr>
              <a:buFontTx/>
              <a:buChar char="-"/>
            </a:pPr>
            <a:endParaRPr lang="en-US" altLang="ru-RU" sz="1600" dirty="0" smtClean="0">
              <a:solidFill>
                <a:srgbClr val="161616"/>
              </a:solidFill>
            </a:endParaRP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r>
              <a:rPr lang="ru-RU" altLang="ru-RU" sz="1500" dirty="0">
                <a:solidFill>
                  <a:srgbClr val="161616"/>
                </a:solidFill>
              </a:rPr>
              <a:t>17 000 работников </a:t>
            </a:r>
          </a:p>
          <a:p>
            <a:pPr marL="0" lvl="1" indent="0">
              <a:spcAft>
                <a:spcPct val="0"/>
              </a:spcAft>
              <a:buClr>
                <a:srgbClr val="006736"/>
              </a:buClr>
              <a:buNone/>
            </a:pPr>
            <a:endParaRPr lang="en-US" altLang="ru-RU" sz="1500" dirty="0">
              <a:solidFill>
                <a:srgbClr val="161616"/>
              </a:solidFill>
            </a:endParaRPr>
          </a:p>
          <a:p>
            <a:pPr lvl="1">
              <a:spcAft>
                <a:spcPct val="0"/>
              </a:spcAft>
              <a:buClr>
                <a:srgbClr val="006736"/>
              </a:buClr>
              <a:buFontTx/>
              <a:buChar char="•"/>
            </a:pPr>
            <a:r>
              <a:rPr lang="ru-RU" altLang="ru-RU" sz="1500" dirty="0">
                <a:solidFill>
                  <a:srgbClr val="161616"/>
                </a:solidFill>
              </a:rPr>
              <a:t>Общий годовой объем производства ЦБП – 3</a:t>
            </a:r>
            <a:r>
              <a:rPr lang="en-US" altLang="ru-RU" sz="1500" dirty="0">
                <a:solidFill>
                  <a:srgbClr val="161616"/>
                </a:solidFill>
              </a:rPr>
              <a:t>.1</a:t>
            </a:r>
            <a:r>
              <a:rPr lang="ru-RU" altLang="ru-RU" sz="1500" dirty="0">
                <a:solidFill>
                  <a:srgbClr val="161616"/>
                </a:solidFill>
              </a:rPr>
              <a:t> млн тонн </a:t>
            </a:r>
            <a:endParaRPr lang="ru-RU" altLang="ru-RU" sz="1600" dirty="0">
              <a:solidFill>
                <a:srgbClr val="161616"/>
              </a:solidFill>
            </a:endParaRPr>
          </a:p>
          <a:p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9" name="Заголовок 7"/>
          <p:cNvSpPr>
            <a:spLocks noGrp="1"/>
          </p:cNvSpPr>
          <p:nvPr>
            <p:ph type="title"/>
          </p:nvPr>
        </p:nvSpPr>
        <p:spPr>
          <a:xfrm>
            <a:off x="169188" y="260648"/>
            <a:ext cx="8060176" cy="768000"/>
          </a:xfrm>
        </p:spPr>
        <p:txBody>
          <a:bodyPr/>
          <a:lstStyle/>
          <a:p>
            <a:r>
              <a:rPr lang="ru-RU" altLang="ru-RU" dirty="0">
                <a:solidFill>
                  <a:srgbClr val="006736"/>
                </a:solidFill>
              </a:rPr>
              <a:t>Группа «Илим» сегодня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5706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Rectangle 9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2969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738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defRPr/>
            </a:pPr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7" name="Текст 6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621590" y="5557838"/>
            <a:ext cx="244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71463" indent="-271463" algn="l" defTabSz="914400" rtl="0" eaLnBrk="1" latinLnBrk="0" hangingPunct="1">
              <a:spcBef>
                <a:spcPts val="0"/>
              </a:spcBef>
              <a:spcAft>
                <a:spcPts val="900"/>
              </a:spcAft>
              <a:buClr>
                <a:schemeClr val="accent2"/>
              </a:buClr>
              <a:buSzPct val="120000"/>
              <a:buFont typeface="Arial" pitchFamily="34" charset="0"/>
              <a:buChar char="•"/>
              <a:defRPr lang="ru-RU" sz="1400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2300" indent="-2603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20000"/>
              <a:buFont typeface="Arial" pitchFamily="34" charset="0"/>
              <a:buChar char="•"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/>
              <a:defRPr lang="ru-RU" sz="1400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spcAft>
                <a:spcPct val="0"/>
              </a:spcAft>
              <a:buNone/>
            </a:pPr>
            <a:fld id="{D1954779-A972-44C7-A0DA-8E7291D703A0}" type="datetime'''''''''''''6''''''''''''''9''9'''''''">
              <a:rPr lang="en-US" sz="1000">
                <a:solidFill>
                  <a:schemeClr val="bg1"/>
                </a:solidFill>
                <a:latin typeface="Arial"/>
                <a:cs typeface="Arial"/>
                <a:sym typeface="Arial"/>
              </a:rPr>
              <a:pPr marL="0" lvl="1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99</a:t>
            </a:fld>
            <a:endParaRPr lang="en-US" sz="10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4" name="Object 18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1998042"/>
              </p:ext>
            </p:extLst>
          </p:nvPr>
        </p:nvGraphicFramePr>
        <p:xfrm>
          <a:off x="1422401" y="5013325"/>
          <a:ext cx="2244725" cy="107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0517" name="Rectangle 43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spcBef>
                <a:spcPct val="50000"/>
              </a:spcBef>
              <a:buClr>
                <a:srgbClr val="82C45B"/>
              </a:buClr>
            </a:pPr>
            <a:r>
              <a:rPr lang="ru-RU" dirty="0"/>
              <a:t>Эффективная коммуникация на английском языке важна для конкурентоспособности на мировом рынке ЦБП</a:t>
            </a:r>
            <a:endParaRPr lang="en-US" altLang="ru-RU" b="1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2396716" y="1304764"/>
            <a:ext cx="1728192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/>
              <a:t>Коммуникация</a:t>
            </a:r>
            <a:endParaRPr lang="en-US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5103887" y="1304763"/>
            <a:ext cx="587918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/>
              <a:t>Цель</a:t>
            </a:r>
            <a:endParaRPr lang="en-US" b="1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7686303" y="1304764"/>
            <a:ext cx="986039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/>
              <a:t>Драйвер</a:t>
            </a:r>
            <a:endParaRPr lang="en-US" b="1" dirty="0" smtClean="0"/>
          </a:p>
        </p:txBody>
      </p:sp>
      <p:sp>
        <p:nvSpPr>
          <p:cNvPr id="16" name="Rectangle 8"/>
          <p:cNvSpPr/>
          <p:nvPr/>
        </p:nvSpPr>
        <p:spPr>
          <a:xfrm>
            <a:off x="2345575" y="2176982"/>
            <a:ext cx="1769715" cy="855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Внешние и внутренние коммуникации </a:t>
            </a:r>
            <a:r>
              <a:rPr lang="en-US" sz="1400" dirty="0" smtClean="0"/>
              <a:t>(high visibility)</a:t>
            </a:r>
            <a:endParaRPr lang="en-US" sz="1400" dirty="0"/>
          </a:p>
        </p:txBody>
      </p:sp>
      <p:sp>
        <p:nvSpPr>
          <p:cNvPr id="18" name="Rectangle 9"/>
          <p:cNvSpPr/>
          <p:nvPr/>
        </p:nvSpPr>
        <p:spPr>
          <a:xfrm>
            <a:off x="2335211" y="4290821"/>
            <a:ext cx="1769715" cy="10242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Внутренние и внешние  коммуникации</a:t>
            </a:r>
            <a:endParaRPr lang="en-US" sz="1400" dirty="0" smtClean="0"/>
          </a:p>
          <a:p>
            <a:pPr algn="ctr"/>
            <a:r>
              <a:rPr lang="en-US" sz="1400" dirty="0" smtClean="0"/>
              <a:t>(low and medium visibility)</a:t>
            </a:r>
            <a:endParaRPr lang="en-US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221339" y="3999972"/>
            <a:ext cx="1800717" cy="19943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1200" dirty="0" smtClean="0"/>
              <a:t>Мы - лидеры российской </a:t>
            </a:r>
            <a:r>
              <a:rPr lang="ru-RU" sz="1200" dirty="0"/>
              <a:t>целлюлозно-бумажной промышленности. На основе международного партнерства мы внедряем лучшие мировые практики и обеспечиваем глобальную конкурентоспособность российской лесной отрасли </a:t>
            </a:r>
            <a:endParaRPr lang="en-US" sz="1200" b="1" dirty="0" smtClean="0"/>
          </a:p>
        </p:txBody>
      </p:sp>
      <p:cxnSp>
        <p:nvCxnSpPr>
          <p:cNvPr id="20" name="Elbow Connector 12"/>
          <p:cNvCxnSpPr>
            <a:endCxn id="16" idx="1"/>
          </p:cNvCxnSpPr>
          <p:nvPr/>
        </p:nvCxnSpPr>
        <p:spPr>
          <a:xfrm flipV="1">
            <a:off x="1820652" y="2604969"/>
            <a:ext cx="524923" cy="1055076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13"/>
          <p:cNvCxnSpPr>
            <a:endCxn id="18" idx="1"/>
          </p:cNvCxnSpPr>
          <p:nvPr/>
        </p:nvCxnSpPr>
        <p:spPr>
          <a:xfrm rot="16200000" flipH="1">
            <a:off x="1506476" y="3974219"/>
            <a:ext cx="1142910" cy="51455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592960" y="2221355"/>
            <a:ext cx="2027729" cy="13572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Транслирование результатов деятельности, основных принципов и ценностей заинтересованным сторонам</a:t>
            </a:r>
            <a:endParaRPr lang="en-US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4592960" y="4345590"/>
            <a:ext cx="2088232" cy="17450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Обмен передовым опытом и знаниями</a:t>
            </a:r>
            <a:endParaRPr lang="en-US" sz="1400" dirty="0" smtClean="0"/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Эффективная </a:t>
            </a:r>
            <a:r>
              <a:rPr lang="ru-RU" sz="1400" dirty="0" err="1" smtClean="0"/>
              <a:t>межфункциональная</a:t>
            </a:r>
            <a:r>
              <a:rPr lang="ru-RU" sz="1400" dirty="0" smtClean="0"/>
              <a:t> коммуникация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Эффективное текущее взаимодействие с поставщиками и заказчиками</a:t>
            </a:r>
            <a:endParaRPr lang="en-US" sz="1400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7227684" y="2176982"/>
            <a:ext cx="2441840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Качество </a:t>
            </a:r>
            <a:r>
              <a:rPr lang="en-US" sz="1400" dirty="0" smtClean="0"/>
              <a:t>(</a:t>
            </a:r>
            <a:r>
              <a:rPr lang="ru-RU" sz="1400" dirty="0" smtClean="0"/>
              <a:t>корректное языковое оформление с учетом требований межкультурной коммуникации, прагматическая адаптация</a:t>
            </a:r>
            <a:r>
              <a:rPr lang="en-US" sz="1400" dirty="0" smtClean="0"/>
              <a:t>) </a:t>
            </a:r>
            <a:r>
              <a:rPr lang="ru-RU" sz="1400" dirty="0" smtClean="0"/>
              <a:t>значимых для имиджа и корпоративной культуры материалов (</a:t>
            </a:r>
            <a:r>
              <a:rPr lang="en-US" sz="1400" dirty="0" smtClean="0"/>
              <a:t>high visibility</a:t>
            </a:r>
            <a:r>
              <a:rPr lang="ru-RU" sz="1400" dirty="0" smtClean="0"/>
              <a:t>)</a:t>
            </a:r>
            <a:endParaRPr lang="en-US" sz="1400" dirty="0"/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Своевременность </a:t>
            </a:r>
            <a:endParaRPr lang="en-US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7227684" y="4290821"/>
            <a:ext cx="2441840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Качество, достаточное для принятия решений</a:t>
            </a:r>
            <a:endParaRPr lang="en-US" sz="1400" dirty="0" smtClean="0"/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Скорость перевода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Затраты на переводческие услуги</a:t>
            </a:r>
            <a:r>
              <a:rPr lang="en-US" sz="14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010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 animBg="1"/>
      <p:bldP spid="22" grpId="0"/>
      <p:bldP spid="23" grpId="0"/>
      <p:bldP spid="24" grpId="0"/>
      <p:bldP spid="2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6" descr="Картинки по запросу worldwid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161616"/>
              </a:solidFill>
            </a:endParaRPr>
          </a:p>
        </p:txBody>
      </p:sp>
      <p:sp>
        <p:nvSpPr>
          <p:cNvPr id="5" name="AutoShape 18" descr="Картинки по запросу worldwide"/>
          <p:cNvSpPr>
            <a:spLocks noChangeAspect="1" noChangeArrowheads="1"/>
          </p:cNvSpPr>
          <p:nvPr/>
        </p:nvSpPr>
        <p:spPr bwMode="auto">
          <a:xfrm>
            <a:off x="307976" y="794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161616"/>
              </a:solidFill>
            </a:endParaRPr>
          </a:p>
        </p:txBody>
      </p:sp>
      <p:sp>
        <p:nvSpPr>
          <p:cNvPr id="6" name="AutoShape 20" descr="Картинки по запросу worldwide"/>
          <p:cNvSpPr>
            <a:spLocks noChangeAspect="1" noChangeArrowheads="1"/>
          </p:cNvSpPr>
          <p:nvPr/>
        </p:nvSpPr>
        <p:spPr bwMode="auto">
          <a:xfrm>
            <a:off x="460375" y="160341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161616"/>
              </a:solidFill>
            </a:endParaRPr>
          </a:p>
        </p:txBody>
      </p:sp>
      <p:sp>
        <p:nvSpPr>
          <p:cNvPr id="65" name="Полилиния 64"/>
          <p:cNvSpPr/>
          <p:nvPr/>
        </p:nvSpPr>
        <p:spPr>
          <a:xfrm>
            <a:off x="8048892" y="4043143"/>
            <a:ext cx="3227413" cy="1353405"/>
          </a:xfrm>
          <a:custGeom>
            <a:avLst/>
            <a:gdLst>
              <a:gd name="connsiteX0" fmla="*/ 0 w 463784"/>
              <a:gd name="connsiteY0" fmla="*/ 0 h 309189"/>
              <a:gd name="connsiteX1" fmla="*/ 463784 w 463784"/>
              <a:gd name="connsiteY1" fmla="*/ 0 h 309189"/>
              <a:gd name="connsiteX2" fmla="*/ 463784 w 463784"/>
              <a:gd name="connsiteY2" fmla="*/ 309189 h 309189"/>
              <a:gd name="connsiteX3" fmla="*/ 0 w 463784"/>
              <a:gd name="connsiteY3" fmla="*/ 309189 h 309189"/>
              <a:gd name="connsiteX4" fmla="*/ 0 w 463784"/>
              <a:gd name="connsiteY4" fmla="*/ 0 h 30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84" h="309189">
                <a:moveTo>
                  <a:pt x="0" y="0"/>
                </a:moveTo>
                <a:lnTo>
                  <a:pt x="463784" y="0"/>
                </a:lnTo>
                <a:lnTo>
                  <a:pt x="463784" y="309189"/>
                </a:lnTo>
                <a:lnTo>
                  <a:pt x="0" y="30918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endParaRPr lang="en-US" sz="1600" dirty="0">
              <a:solidFill>
                <a:srgbClr val="006736"/>
              </a:solidFill>
            </a:endParaRPr>
          </a:p>
        </p:txBody>
      </p:sp>
      <p:sp>
        <p:nvSpPr>
          <p:cNvPr id="66" name="Полилиния 65"/>
          <p:cNvSpPr/>
          <p:nvPr/>
        </p:nvSpPr>
        <p:spPr>
          <a:xfrm>
            <a:off x="8048892" y="6324917"/>
            <a:ext cx="3359472" cy="1201905"/>
          </a:xfrm>
          <a:custGeom>
            <a:avLst/>
            <a:gdLst>
              <a:gd name="connsiteX0" fmla="*/ 0 w 463784"/>
              <a:gd name="connsiteY0" fmla="*/ 0 h 309189"/>
              <a:gd name="connsiteX1" fmla="*/ 463784 w 463784"/>
              <a:gd name="connsiteY1" fmla="*/ 0 h 309189"/>
              <a:gd name="connsiteX2" fmla="*/ 463784 w 463784"/>
              <a:gd name="connsiteY2" fmla="*/ 309189 h 309189"/>
              <a:gd name="connsiteX3" fmla="*/ 0 w 463784"/>
              <a:gd name="connsiteY3" fmla="*/ 309189 h 309189"/>
              <a:gd name="connsiteX4" fmla="*/ 0 w 463784"/>
              <a:gd name="connsiteY4" fmla="*/ 0 h 30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84" h="309189">
                <a:moveTo>
                  <a:pt x="0" y="0"/>
                </a:moveTo>
                <a:lnTo>
                  <a:pt x="463784" y="0"/>
                </a:lnTo>
                <a:lnTo>
                  <a:pt x="463784" y="309189"/>
                </a:lnTo>
                <a:lnTo>
                  <a:pt x="0" y="30918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1" defTabSz="3111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dirty="0" smtClean="0">
                <a:solidFill>
                  <a:srgbClr val="161616">
                    <a:hueOff val="0"/>
                    <a:satOff val="0"/>
                    <a:lumOff val="0"/>
                    <a:alphaOff val="0"/>
                  </a:srgbClr>
                </a:solidFill>
              </a:rPr>
              <a:t>  </a:t>
            </a:r>
            <a:endParaRPr lang="en-US" sz="1600" dirty="0">
              <a:solidFill>
                <a:srgbClr val="006736"/>
              </a:solidFill>
            </a:endParaRPr>
          </a:p>
        </p:txBody>
      </p:sp>
      <p:sp>
        <p:nvSpPr>
          <p:cNvPr id="67" name="Полилиния 66"/>
          <p:cNvSpPr/>
          <p:nvPr/>
        </p:nvSpPr>
        <p:spPr>
          <a:xfrm>
            <a:off x="1831300" y="6113733"/>
            <a:ext cx="3204934" cy="1351972"/>
          </a:xfrm>
          <a:custGeom>
            <a:avLst/>
            <a:gdLst>
              <a:gd name="connsiteX0" fmla="*/ 0 w 463784"/>
              <a:gd name="connsiteY0" fmla="*/ 0 h 309189"/>
              <a:gd name="connsiteX1" fmla="*/ 463784 w 463784"/>
              <a:gd name="connsiteY1" fmla="*/ 0 h 309189"/>
              <a:gd name="connsiteX2" fmla="*/ 463784 w 463784"/>
              <a:gd name="connsiteY2" fmla="*/ 309189 h 309189"/>
              <a:gd name="connsiteX3" fmla="*/ 0 w 463784"/>
              <a:gd name="connsiteY3" fmla="*/ 309189 h 309189"/>
              <a:gd name="connsiteX4" fmla="*/ 0 w 463784"/>
              <a:gd name="connsiteY4" fmla="*/ 0 h 30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84" h="309189">
                <a:moveTo>
                  <a:pt x="0" y="0"/>
                </a:moveTo>
                <a:lnTo>
                  <a:pt x="463784" y="0"/>
                </a:lnTo>
                <a:lnTo>
                  <a:pt x="463784" y="309189"/>
                </a:lnTo>
                <a:lnTo>
                  <a:pt x="0" y="30918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lvl="1" defTabSz="3111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dirty="0" smtClean="0">
                <a:solidFill>
                  <a:srgbClr val="161616">
                    <a:hueOff val="0"/>
                    <a:satOff val="0"/>
                    <a:lumOff val="0"/>
                    <a:alphaOff val="0"/>
                  </a:srgbClr>
                </a:solidFill>
              </a:rPr>
              <a:t>  </a:t>
            </a:r>
            <a:endParaRPr lang="ru-RU" sz="1600" dirty="0" smtClean="0">
              <a:solidFill>
                <a:srgbClr val="006736"/>
              </a:solidFill>
            </a:endParaRPr>
          </a:p>
        </p:txBody>
      </p:sp>
      <p:sp>
        <p:nvSpPr>
          <p:cNvPr id="68" name="Полилиния 67"/>
          <p:cNvSpPr/>
          <p:nvPr/>
        </p:nvSpPr>
        <p:spPr>
          <a:xfrm>
            <a:off x="1831300" y="4005064"/>
            <a:ext cx="3204934" cy="2187403"/>
          </a:xfrm>
          <a:custGeom>
            <a:avLst/>
            <a:gdLst>
              <a:gd name="connsiteX0" fmla="*/ 0 w 463784"/>
              <a:gd name="connsiteY0" fmla="*/ 0 h 309189"/>
              <a:gd name="connsiteX1" fmla="*/ 463784 w 463784"/>
              <a:gd name="connsiteY1" fmla="*/ 0 h 309189"/>
              <a:gd name="connsiteX2" fmla="*/ 463784 w 463784"/>
              <a:gd name="connsiteY2" fmla="*/ 309189 h 309189"/>
              <a:gd name="connsiteX3" fmla="*/ 0 w 463784"/>
              <a:gd name="connsiteY3" fmla="*/ 309189 h 309189"/>
              <a:gd name="connsiteX4" fmla="*/ 0 w 463784"/>
              <a:gd name="connsiteY4" fmla="*/ 0 h 309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784" h="309189">
                <a:moveTo>
                  <a:pt x="0" y="0"/>
                </a:moveTo>
                <a:lnTo>
                  <a:pt x="463784" y="0"/>
                </a:lnTo>
                <a:lnTo>
                  <a:pt x="463784" y="309189"/>
                </a:lnTo>
                <a:lnTo>
                  <a:pt x="0" y="30918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endParaRPr lang="ru-RU" sz="1600" dirty="0">
              <a:solidFill>
                <a:srgbClr val="006736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ша </a:t>
            </a:r>
            <a:r>
              <a:rPr lang="ru-RU" dirty="0"/>
              <a:t>цель – Единый центр обслужива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36476" y="1304763"/>
            <a:ext cx="450050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/>
              <a:t>Эволюция переводческого сервиса </a:t>
            </a:r>
            <a:endParaRPr lang="en-US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300266" y="3569217"/>
            <a:ext cx="2088232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/>
              <a:t>Было</a:t>
            </a:r>
            <a:endParaRPr lang="en-US" b="1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6753200" y="1772816"/>
            <a:ext cx="2448272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/>
              <a:t>Целевое состояние</a:t>
            </a:r>
            <a:endParaRPr lang="en-US" b="1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3523135" y="2676660"/>
            <a:ext cx="2088232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 smtClean="0"/>
              <a:t>Стало</a:t>
            </a:r>
            <a:endParaRPr lang="en-US" b="1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236476" y="4174741"/>
            <a:ext cx="2952328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Отсутствие координации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Внутренние клиенты не заинтересованы в снижении объема  документов, присылаемых в перевод, и в контроле затрат 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Дублирование заявок на перевод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Срочные заявки на перевод 100+  стр.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Отсутствие единой терминологии </a:t>
            </a:r>
            <a:endParaRPr lang="en-US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3523135" y="3075753"/>
            <a:ext cx="2773631" cy="34901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Отдел переводов – перевод документов к СД, составление глоссариев, перевод других документов по заявкам всех подразделений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Взаимодействие с филиалами и проектными переводчиками– матричное подчинение, первые шаги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Упорядочивание потока заказов, направляемых в перевод 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Прозрачность работы и объема загрузки переводчиков филиалов, ЦО и проектов 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Унификация терминологии</a:t>
            </a:r>
            <a:endParaRPr lang="en-US" sz="1400" dirty="0"/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6753200" y="2441502"/>
            <a:ext cx="2772308" cy="310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Единое окно для всех переводов в рамках компании – ЕЦО (ЦО и филиалы)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Отдел переводов – центр передового опыта. Перевод документов</a:t>
            </a:r>
            <a:r>
              <a:rPr lang="en-US" sz="1400" dirty="0" smtClean="0"/>
              <a:t> </a:t>
            </a:r>
            <a:r>
              <a:rPr lang="ru-RU" sz="1400" dirty="0" smtClean="0"/>
              <a:t>категории </a:t>
            </a:r>
            <a:r>
              <a:rPr lang="en-US" sz="1400" dirty="0" smtClean="0"/>
              <a:t>high visibility</a:t>
            </a:r>
            <a:endParaRPr lang="ru-RU" sz="1400" dirty="0" smtClean="0"/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Переводчики на филиалах и в ЦО работают как единый пул ресурсов в паре «русский-английский»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Аутсорсинг  перевода объемных заказов и переводов в прочих языковых парах </a:t>
            </a:r>
          </a:p>
          <a:p>
            <a:pPr marL="95250" indent="-952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ru-RU" sz="1400" dirty="0" smtClean="0"/>
              <a:t>Единая база переводов и терминологии</a:t>
            </a:r>
            <a:endParaRPr lang="en-US" sz="1400" dirty="0"/>
          </a:p>
        </p:txBody>
      </p:sp>
      <p:sp>
        <p:nvSpPr>
          <p:cNvPr id="20" name="Curved Down Arrow 20"/>
          <p:cNvSpPr/>
          <p:nvPr/>
        </p:nvSpPr>
        <p:spPr>
          <a:xfrm rot="19822393">
            <a:off x="2182783" y="3089516"/>
            <a:ext cx="1188132" cy="322672"/>
          </a:xfrm>
          <a:prstGeom prst="curved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Curved Down Arrow 21"/>
          <p:cNvSpPr/>
          <p:nvPr/>
        </p:nvSpPr>
        <p:spPr>
          <a:xfrm rot="19822393">
            <a:off x="5474643" y="2081404"/>
            <a:ext cx="1188132" cy="322672"/>
          </a:xfrm>
          <a:prstGeom prst="curved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222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z="2400" dirty="0">
                <a:solidFill>
                  <a:srgbClr val="006600"/>
                </a:solidFill>
              </a:rPr>
              <a:t>Наш инструментарий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611188" y="1916113"/>
            <a:ext cx="6713537" cy="4051300"/>
          </a:xfrm>
          <a:prstGeom prst="rect">
            <a:avLst/>
          </a:prstGeom>
        </p:spPr>
        <p:txBody>
          <a:bodyPr/>
          <a:lstStyle>
            <a:lvl1pPr marL="271463" indent="-271463" algn="l" defTabSz="914400" rtl="0" eaLnBrk="1" latinLnBrk="0" hangingPunct="1">
              <a:spcBef>
                <a:spcPts val="0"/>
              </a:spcBef>
              <a:spcAft>
                <a:spcPts val="900"/>
              </a:spcAft>
              <a:buFont typeface="Arial" pitchFamily="34" charset="0"/>
              <a:buChar char="•"/>
              <a:defRPr lang="ru-RU" sz="1400" kern="1200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2300" indent="-2603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/>
              <a:defRPr lang="ru-RU" sz="1400" kern="1200" baseline="0" dirty="0" smtClean="0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tabLst>
                <a:tab pos="533400" algn="l"/>
              </a:tabLst>
              <a:defRPr/>
            </a:pPr>
            <a:r>
              <a:rPr lang="ru-RU" sz="2400" dirty="0" smtClean="0"/>
              <a:t>Автоматизация</a:t>
            </a:r>
            <a:endParaRPr lang="ru-RU" sz="2400" dirty="0"/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tabLst>
                <a:tab pos="533400" algn="l"/>
              </a:tabLst>
              <a:defRPr/>
            </a:pPr>
            <a:r>
              <a:rPr lang="ru-RU" sz="2400" dirty="0"/>
              <a:t>Система общих папок</a:t>
            </a:r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defRPr/>
            </a:pPr>
            <a:r>
              <a:rPr lang="ru-RU" sz="2400" dirty="0"/>
              <a:t>Система заказов на перевод</a:t>
            </a:r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defRPr/>
            </a:pPr>
            <a:r>
              <a:rPr lang="ru-RU" sz="2400" dirty="0"/>
              <a:t>Ведение ведомости учета работ</a:t>
            </a:r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defRPr/>
            </a:pPr>
            <a:r>
              <a:rPr lang="ru-RU" sz="2400" dirty="0"/>
              <a:t>Обратная</a:t>
            </a:r>
            <a:r>
              <a:rPr lang="ru-RU" sz="2400" dirty="0"/>
              <a:t> связь</a:t>
            </a:r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defRPr/>
            </a:pPr>
            <a:r>
              <a:rPr lang="ru-RU" sz="2400" dirty="0"/>
              <a:t>Глоссарии </a:t>
            </a:r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defRPr/>
            </a:pPr>
            <a:r>
              <a:rPr lang="ru-RU" sz="2400" dirty="0"/>
              <a:t>Взаимозаменяемость переводчиков + разумная специализация</a:t>
            </a:r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defRPr/>
            </a:pPr>
            <a:endParaRPr lang="ru-RU" sz="2400" dirty="0" smtClean="0"/>
          </a:p>
          <a:p>
            <a:pPr marL="285750" indent="-285750">
              <a:buClr>
                <a:srgbClr val="006600"/>
              </a:buClr>
              <a:buFont typeface="Wingdings" pitchFamily="2" charset="2"/>
              <a:buChar char="ü"/>
              <a:defRPr/>
            </a:pPr>
            <a:endParaRPr lang="ru-RU" dirty="0" smtClean="0">
              <a:solidFill>
                <a:srgbClr val="33CC33"/>
              </a:solidFill>
            </a:endParaRPr>
          </a:p>
          <a:p>
            <a:pPr marL="285750" indent="-285750">
              <a:buClr>
                <a:srgbClr val="006600"/>
              </a:buClr>
              <a:defRPr/>
            </a:pPr>
            <a:endParaRPr lang="ru-RU" dirty="0" smtClean="0"/>
          </a:p>
          <a:p>
            <a:pPr>
              <a:buClr>
                <a:srgbClr val="006600"/>
              </a:buClr>
              <a:defRPr/>
            </a:pPr>
            <a:r>
              <a:rPr lang="ru-RU" dirty="0" smtClean="0"/>
              <a:t> </a:t>
            </a:r>
          </a:p>
          <a:p>
            <a:pPr>
              <a:buClr>
                <a:srgbClr val="339966"/>
              </a:buClr>
              <a:buFontTx/>
              <a:buChar char="•"/>
              <a:defRPr/>
            </a:pPr>
            <a:endParaRPr lang="ru-RU" dirty="0" smtClean="0"/>
          </a:p>
          <a:p>
            <a:pPr>
              <a:buClr>
                <a:srgbClr val="006600"/>
              </a:buClr>
              <a:defRPr/>
            </a:pPr>
            <a:endParaRPr lang="ru-RU" dirty="0" smtClean="0"/>
          </a:p>
          <a:p>
            <a:pPr>
              <a:buClr>
                <a:srgbClr val="339966"/>
              </a:buClr>
              <a:buFontTx/>
              <a:buChar char="•"/>
              <a:defRPr/>
            </a:pP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888834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альнейшие шаги. Вопросы для обсуждения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0" indent="0">
              <a:buClr>
                <a:srgbClr val="006600"/>
              </a:buClr>
              <a:buNone/>
              <a:tabLst>
                <a:tab pos="533400" algn="l"/>
              </a:tabLst>
              <a:defRPr/>
            </a:pPr>
            <a:r>
              <a:rPr lang="ru-RU" sz="2400" b="1" dirty="0"/>
              <a:t>ЕЦО переводческого </a:t>
            </a:r>
            <a:r>
              <a:rPr lang="ru-RU" sz="2400" b="1" dirty="0" smtClean="0"/>
              <a:t>сервиса:</a:t>
            </a:r>
          </a:p>
          <a:p>
            <a:pPr marL="0" indent="0">
              <a:buClr>
                <a:srgbClr val="006600"/>
              </a:buClr>
              <a:buNone/>
              <a:tabLst>
                <a:tab pos="533400" algn="l"/>
              </a:tabLst>
              <a:defRPr/>
            </a:pPr>
            <a:endParaRPr lang="ru-RU" sz="2400" b="1" dirty="0" smtClean="0"/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tabLst>
                <a:tab pos="533400" algn="l"/>
              </a:tabLst>
              <a:defRPr/>
            </a:pPr>
            <a:r>
              <a:rPr lang="ru-RU" sz="2400" dirty="0" smtClean="0"/>
              <a:t>Структура</a:t>
            </a:r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tabLst>
                <a:tab pos="533400" algn="l"/>
              </a:tabLst>
              <a:defRPr/>
            </a:pPr>
            <a:r>
              <a:rPr lang="ru-RU" sz="2400" dirty="0" smtClean="0"/>
              <a:t>Кому подчиняется</a:t>
            </a:r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tabLst>
                <a:tab pos="533400" algn="l"/>
              </a:tabLst>
              <a:defRPr/>
            </a:pPr>
            <a:r>
              <a:rPr lang="ru-RU" sz="2400" dirty="0" smtClean="0"/>
              <a:t>Сроки </a:t>
            </a:r>
            <a:r>
              <a:rPr lang="ru-RU" sz="2400" dirty="0"/>
              <a:t>внедрения</a:t>
            </a:r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tabLst>
                <a:tab pos="533400" algn="l"/>
              </a:tabLst>
              <a:defRPr/>
            </a:pPr>
            <a:r>
              <a:rPr lang="ru-RU" sz="2400" dirty="0" smtClean="0"/>
              <a:t>Управление аутсорсингом </a:t>
            </a:r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tabLst>
                <a:tab pos="533400" algn="l"/>
              </a:tabLst>
              <a:defRPr/>
            </a:pPr>
            <a:r>
              <a:rPr lang="ru-RU" sz="2400" dirty="0" smtClean="0"/>
              <a:t>Аттестация переводчиков</a:t>
            </a:r>
            <a:r>
              <a:rPr lang="ru-RU" sz="2400" dirty="0"/>
              <a:t>, </a:t>
            </a:r>
            <a:r>
              <a:rPr lang="ru-RU" sz="2400" dirty="0" smtClean="0"/>
              <a:t>категории (</a:t>
            </a:r>
            <a:r>
              <a:rPr lang="ru-RU" sz="2400" dirty="0" err="1" smtClean="0"/>
              <a:t>грейды</a:t>
            </a:r>
            <a:r>
              <a:rPr lang="ru-RU" sz="2400" dirty="0" smtClean="0"/>
              <a:t>)</a:t>
            </a:r>
          </a:p>
          <a:p>
            <a:pPr marL="0" indent="0">
              <a:buClr>
                <a:srgbClr val="006600"/>
              </a:buClr>
              <a:buNone/>
              <a:tabLst>
                <a:tab pos="533400" algn="l"/>
              </a:tabLst>
              <a:defRPr/>
            </a:pPr>
            <a:endParaRPr lang="ru-RU" sz="2400" dirty="0" smtClean="0"/>
          </a:p>
          <a:p>
            <a:pPr marL="527050" indent="-527050">
              <a:buClr>
                <a:srgbClr val="006600"/>
              </a:buClr>
              <a:buFont typeface="Wingdings" pitchFamily="2" charset="2"/>
              <a:buChar char="q"/>
              <a:tabLst>
                <a:tab pos="533400" algn="l"/>
              </a:tabLst>
              <a:defRPr/>
            </a:pPr>
            <a:endParaRPr lang="ru-RU" sz="24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7510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тная связь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marL="0" indent="0" algn="ctr">
              <a:buClr>
                <a:srgbClr val="339966"/>
              </a:buClr>
              <a:buNone/>
              <a:defRPr/>
            </a:pPr>
            <a:r>
              <a:rPr lang="ru-RU" sz="3200" dirty="0">
                <a:solidFill>
                  <a:schemeClr val="tx1"/>
                </a:solidFill>
              </a:rPr>
              <a:t>Спасибо за внимание!</a:t>
            </a:r>
            <a:br>
              <a:rPr lang="ru-RU" sz="3200" dirty="0">
                <a:solidFill>
                  <a:schemeClr val="tx1"/>
                </a:solidFill>
              </a:rPr>
            </a:br>
            <a:r>
              <a:rPr lang="ru-RU" sz="3200" dirty="0">
                <a:solidFill>
                  <a:schemeClr val="tx1"/>
                </a:solidFill>
              </a:rPr>
              <a:t/>
            </a:r>
            <a:br>
              <a:rPr lang="ru-RU" sz="3200" dirty="0">
                <a:solidFill>
                  <a:schemeClr val="tx1"/>
                </a:solidFill>
              </a:rPr>
            </a:br>
            <a:r>
              <a:rPr lang="ru-RU" sz="3200" dirty="0">
                <a:solidFill>
                  <a:schemeClr val="tx1"/>
                </a:solidFill>
              </a:rPr>
              <a:t>Вопросы?</a:t>
            </a:r>
            <a:r>
              <a:rPr lang="en-US" sz="3200" dirty="0">
                <a:solidFill>
                  <a:schemeClr val="tx1"/>
                </a:solidFill>
              </a:rPr>
              <a:t/>
            </a:r>
            <a:br>
              <a:rPr lang="en-US" sz="3200" dirty="0">
                <a:solidFill>
                  <a:schemeClr val="tx1"/>
                </a:solidFill>
              </a:rPr>
            </a:br>
            <a:r>
              <a:rPr lang="en-US" sz="2400" dirty="0">
                <a:solidFill>
                  <a:schemeClr val="tx2">
                    <a:satMod val="130000"/>
                  </a:schemeClr>
                </a:solidFill>
              </a:rPr>
              <a:t/>
            </a:r>
            <a:br>
              <a:rPr lang="en-US" sz="2400" dirty="0">
                <a:solidFill>
                  <a:schemeClr val="tx2">
                    <a:satMod val="130000"/>
                  </a:schemeClr>
                </a:solidFill>
              </a:rPr>
            </a:br>
            <a:endParaRPr lang="ru-RU" sz="2400" b="1" dirty="0">
              <a:solidFill>
                <a:srgbClr val="006600"/>
              </a:solidFill>
            </a:endParaRPr>
          </a:p>
          <a:p>
            <a:pPr marL="0" indent="0" algn="ctr">
              <a:buNone/>
              <a:defRPr/>
            </a:pPr>
            <a:r>
              <a:rPr lang="en-US" sz="2400" dirty="0"/>
              <a:t>tatiana.popova@ilimgroup.ru</a:t>
            </a:r>
          </a:p>
          <a:p>
            <a:pPr marL="0" indent="0" algn="ctr">
              <a:buClr>
                <a:srgbClr val="339966"/>
              </a:buClr>
              <a:buNone/>
              <a:defRPr/>
            </a:pPr>
            <a:r>
              <a:rPr lang="ru-RU" sz="2400" b="1" dirty="0">
                <a:solidFill>
                  <a:srgbClr val="006600"/>
                </a:solidFill>
              </a:rPr>
              <a:t> 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7026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4&quot;&gt;&lt;elem m_fUsage=&quot;2.54708270009118910000E+000&quot;&gt;&lt;m_ppcolschidx val=&quot;0&quot;/&gt;&lt;m_rgb r=&quot;71&quot; g=&quot;86&quot; b=&quot;ec&quot;/&gt;&lt;/elem&gt;&lt;elem m_fUsage=&quot;2.06891013271968880000E+000&quot;&gt;&lt;m_ppcolschidx val=&quot;0&quot;/&gt;&lt;m_rgb r=&quot;ff&quot; g=&quot;d9&quot; b=&quot;64&quot;/&gt;&lt;/elem&gt;&lt;elem m_fUsage=&quot;1.95573330021263820000E+000&quot;&gt;&lt;m_ppcolschidx val=&quot;0&quot;/&gt;&lt;m_rgb r=&quot;72&quot; g=&quot;b3&quot; b=&quot;6c&quot;/&gt;&lt;/elem&gt;&lt;elem m_fUsage=&quot;1.90343802631861880000E+000&quot;&gt;&lt;m_ppcolschidx val=&quot;0&quot;/&gt;&lt;m_rgb r=&quot;ff&quot; g=&quot;99&quot; b=&quot;66&quot;/&gt;&lt;/elem&gt;&lt;elem m_fUsage=&quot;9.13131958085476310000E-001&quot;&gt;&lt;m_ppcolschidx val=&quot;0&quot;/&gt;&lt;m_rgb r=&quot;7f&quot; g=&quot;7f&quot; b=&quot;7f&quot;/&gt;&lt;/elem&gt;&lt;elem m_fUsage=&quot;4.80378604353016210000E-001&quot;&gt;&lt;m_ppcolschidx val=&quot;0&quot;/&gt;&lt;m_rgb r=&quot;b5&quot; g=&quot;d1&quot; b=&quot;e8&quot;/&gt;&lt;/elem&gt;&lt;elem m_fUsage=&quot;3.52017898923491850000E-002&quot;&gt;&lt;m_ppcolschidx val=&quot;0&quot;/&gt;&lt;m_rgb r=&quot;b3&quot; g=&quot;ff&quot; b=&quot;b3&quot;/&gt;&lt;/elem&gt;&lt;elem m_fUsage=&quot;2.13057983544132600000E-002&quot;&gt;&lt;m_ppcolschidx val=&quot;0&quot;/&gt;&lt;m_rgb r=&quot;c8&quot; g=&quot;b8&quot; b=&quot;86&quot;/&gt;&lt;/elem&gt;&lt;elem m_fUsage=&quot;1.78357723786328090000E-002&quot;&gt;&lt;m_ppcolschidx val=&quot;0&quot;/&gt;&lt;m_rgb r=&quot;ff&quot; g=&quot;c3&quot; b=&quot;c&quot;/&gt;&lt;/elem&gt;&lt;elem m_fUsage=&quot;1.63460473694616030000E-002&quot;&gt;&lt;m_ppcolschidx val=&quot;0&quot;/&gt;&lt;m_rgb r=&quot;88&quot; g=&quot;bb&quot; b=&quot;43&quot;/&gt;&lt;/elem&gt;&lt;elem m_fUsage=&quot;1.30032674192673780000E-002&quot;&gt;&lt;m_ppcolschidx val=&quot;0&quot;/&gt;&lt;m_rgb r=&quot;39&quot; g=&quot;e6&quot; b=&quot;46&quot;/&gt;&lt;/elem&gt;&lt;elem m_fUsage=&quot;1.27121359172169320000E-002&quot;&gt;&lt;m_ppcolschidx val=&quot;0&quot;/&gt;&lt;m_rgb r=&quot;60&quot; g=&quot;c6&quot; b=&quot;59&quot;/&gt;&lt;/elem&gt;&lt;elem m_fUsage=&quot;7.68283818497399180000E-003&quot;&gt;&lt;m_ppcolschidx val=&quot;0&quot;/&gt;&lt;m_rgb r=&quot;ef&quot; g=&quot;b8&quot; b=&quot;38&quot;/&gt;&lt;/elem&gt;&lt;elem m_fUsage=&quot;2.73892744995341170000E-003&quot;&gt;&lt;m_ppcolschidx val=&quot;0&quot;/&gt;&lt;m_rgb r=&quot;0&quot; g=&quot;b0&quot; b=&quot;50&quot;/&gt;&lt;/elem&gt;&lt;elem m_fUsage=&quot;1.45823627457388370000E-003&quot;&gt;&lt;m_ppcolschidx val=&quot;0&quot;/&gt;&lt;m_rgb r=&quot;ff&quot; g=&quot;b4&quot; b=&quot;7f&quot;/&gt;&lt;/elem&gt;&lt;elem m_fUsage=&quot;1.38480492573619010000E-003&quot;&gt;&lt;m_ppcolschidx val=&quot;0&quot;/&gt;&lt;m_rgb r=&quot;ff&quot; g=&quot;64&quot; b=&quot;64&quot;/&gt;&lt;/elem&gt;&lt;elem m_fUsage=&quot;5.63920873396018140000E-004&quot;&gt;&lt;m_ppcolschidx val=&quot;0&quot;/&gt;&lt;m_rgb r=&quot;ff&quot; g=&quot;99&quot; b=&quot;33&quot;/&gt;&lt;/elem&gt;&lt;elem m_fUsage=&quot;5.63076749462780600000E-004&quot;&gt;&lt;m_ppcolschidx val=&quot;0&quot;/&gt;&lt;m_rgb r=&quot;36&quot; g=&quot;89&quot; b=&quot;30&quot;/&gt;&lt;/elem&gt;&lt;elem m_fUsage=&quot;4.11098316705697300000E-004&quot;&gt;&lt;m_ppcolschidx val=&quot;0&quot;/&gt;&lt;m_rgb r=&quot;a2&quot; g=&quot;b8&quot; b=&quot;1&quot;/&gt;&lt;/elem&gt;&lt;elem m_fUsage=&quot;7.15386208011944460000E-005&quot;&gt;&lt;m_ppcolschidx val=&quot;0&quot;/&gt;&lt;m_rgb r=&quot;98&quot; g=&quot;de&quot; b=&quot;7a&quot;/&gt;&lt;/elem&gt;&lt;elem m_fUsage=&quot;1.28669802918054180000E-005&quot;&gt;&lt;m_ppcolschidx val=&quot;0&quot;/&gt;&lt;m_rgb r=&quot;91&quot; g=&quot;ff&quot; b=&quot;91&quot;/&gt;&lt;/elem&gt;&lt;elem m_fUsage=&quot;1.11613674370268420000E-005&quot;&gt;&lt;m_ppcolschidx val=&quot;0&quot;/&gt;&lt;m_rgb r=&quot;43&quot; g=&quot;a3&quot; b=&quot;48&quot;/&gt;&lt;/elem&gt;&lt;elem m_fUsage=&quot;1.00631195756582990000E-005&quot;&gt;&lt;m_ppcolschidx val=&quot;0&quot;/&gt;&lt;m_rgb r=&quot;fa&quot; g=&quot;c5&quot; b=&quot;a0&quot;/&gt;&lt;/elem&gt;&lt;elem m_fUsage=&quot;3.58805113110951660000E-006&quot;&gt;&lt;m_ppcolschidx val=&quot;0&quot;/&gt;&lt;m_rgb r=&quot;fc&quot; g=&quot;f5&quot; b=&quot;85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2uCuReSkq_32MDFMuV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rG52oeL0qtC1VE5wXv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5KtJZNHUKst7GoKkGJ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NW0dLXj0qHIWQ3Y_6z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2uCuReSkq_32MDFMuV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rG52oeL0qtC1VE5wXv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5KtJZNHUKst7GoKkGJ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3CXz82CE20IFN.Rmm.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RDTFfY80mFPUCkihqJ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dEdHL470WujlS.o2Zr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NW0dLXj0qHIWQ3Y_6z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2uCuReSkq_32MDFMuV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rG52oeL0qtC1VE5wXv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5KtJZNHUKst7GoKkGJ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NW0dLXj0qHIWQ3Y_6zUQ"/>
</p:tagLst>
</file>

<file path=ppt/theme/theme1.xml><?xml version="1.0" encoding="utf-8"?>
<a:theme xmlns:a="http://schemas.openxmlformats.org/drawingml/2006/main" name="Тема Office">
  <a:themeElements>
    <a:clrScheme name="Илим от Савко">
      <a:dk1>
        <a:srgbClr val="161616"/>
      </a:dk1>
      <a:lt1>
        <a:srgbClr val="FFFFFF"/>
      </a:lt1>
      <a:dk2>
        <a:srgbClr val="F8ED53"/>
      </a:dk2>
      <a:lt2>
        <a:srgbClr val="7F7F7F"/>
      </a:lt2>
      <a:accent1>
        <a:srgbClr val="006736"/>
      </a:accent1>
      <a:accent2>
        <a:srgbClr val="82C45B"/>
      </a:accent2>
      <a:accent3>
        <a:srgbClr val="68A3D8"/>
      </a:accent3>
      <a:accent4>
        <a:srgbClr val="DBDCDE"/>
      </a:accent4>
      <a:accent5>
        <a:srgbClr val="FF9966"/>
      </a:accent5>
      <a:accent6>
        <a:srgbClr val="FDB933"/>
      </a:accent6>
      <a:hlink>
        <a:srgbClr val="F8ED53"/>
      </a:hlink>
      <a:folHlink>
        <a:srgbClr val="808284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Firm Format - Russian">
  <a:themeElements>
    <a:clrScheme name="New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8F3B3"/>
      </a:accent1>
      <a:accent2>
        <a:srgbClr val="CCCCCC"/>
      </a:accent2>
      <a:accent3>
        <a:srgbClr val="7EC568"/>
      </a:accent3>
      <a:accent4>
        <a:srgbClr val="00703C"/>
      </a:accent4>
      <a:accent5>
        <a:srgbClr val="FF6600"/>
      </a:accent5>
      <a:accent6>
        <a:srgbClr val="808080"/>
      </a:accent6>
      <a:hlink>
        <a:srgbClr val="7EC568"/>
      </a:hlink>
      <a:folHlink>
        <a:srgbClr val="00703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7EC568"/>
        </a:accent1>
        <a:accent2>
          <a:srgbClr val="E5F7CD"/>
        </a:accent2>
        <a:accent3>
          <a:srgbClr val="70B21A"/>
        </a:accent3>
        <a:accent4>
          <a:srgbClr val="00703C"/>
        </a:accent4>
        <a:accent5>
          <a:srgbClr val="FF6600"/>
        </a:accent5>
        <a:accent6>
          <a:srgbClr val="808080"/>
        </a:accent6>
        <a:hlink>
          <a:srgbClr val="70B21A"/>
        </a:hlink>
        <a:folHlink>
          <a:srgbClr val="00703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5F7CD"/>
        </a:accent1>
        <a:accent2>
          <a:srgbClr val="7EC568"/>
        </a:accent2>
        <a:accent3>
          <a:srgbClr val="70B21A"/>
        </a:accent3>
        <a:accent4>
          <a:srgbClr val="00703C"/>
        </a:accent4>
        <a:accent5>
          <a:srgbClr val="FF6600"/>
        </a:accent5>
        <a:accent6>
          <a:srgbClr val="808080"/>
        </a:accent6>
        <a:hlink>
          <a:srgbClr val="70B21A"/>
        </a:hlink>
        <a:folHlink>
          <a:srgbClr val="00703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5F7CD"/>
        </a:accent1>
        <a:accent2>
          <a:srgbClr val="CCCCCC"/>
        </a:accent2>
        <a:accent3>
          <a:srgbClr val="7EC568"/>
        </a:accent3>
        <a:accent4>
          <a:srgbClr val="00703C"/>
        </a:accent4>
        <a:accent5>
          <a:srgbClr val="FF6600"/>
        </a:accent5>
        <a:accent6>
          <a:srgbClr val="808080"/>
        </a:accent6>
        <a:hlink>
          <a:srgbClr val="7EC568"/>
        </a:hlink>
        <a:folHlink>
          <a:srgbClr val="00703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D8F3B3"/>
        </a:accent1>
        <a:accent2>
          <a:srgbClr val="CCCCCC"/>
        </a:accent2>
        <a:accent3>
          <a:srgbClr val="7EC568"/>
        </a:accent3>
        <a:accent4>
          <a:srgbClr val="00703C"/>
        </a:accent4>
        <a:accent5>
          <a:srgbClr val="FF6600"/>
        </a:accent5>
        <a:accent6>
          <a:srgbClr val="808080"/>
        </a:accent6>
        <a:hlink>
          <a:srgbClr val="7EC568"/>
        </a:hlink>
        <a:folHlink>
          <a:srgbClr val="00703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Илим.potx" id="{F5B139C2-72CA-47DC-8EFE-C98078BC1EAA}" vid="{4750D9AE-5B7C-4E43-B2E2-45E96C3F86DA}"/>
    </a:ext>
  </a:extLst>
</a:theme>
</file>

<file path=ppt/theme/theme3.xml><?xml version="1.0" encoding="utf-8"?>
<a:theme xmlns:a="http://schemas.openxmlformats.org/drawingml/2006/main" name="1_Тема Office">
  <a:themeElements>
    <a:clrScheme name="Илим от Савко">
      <a:dk1>
        <a:srgbClr val="161616"/>
      </a:dk1>
      <a:lt1>
        <a:srgbClr val="FFFFFF"/>
      </a:lt1>
      <a:dk2>
        <a:srgbClr val="F8ED53"/>
      </a:dk2>
      <a:lt2>
        <a:srgbClr val="7F7F7F"/>
      </a:lt2>
      <a:accent1>
        <a:srgbClr val="006736"/>
      </a:accent1>
      <a:accent2>
        <a:srgbClr val="82C45B"/>
      </a:accent2>
      <a:accent3>
        <a:srgbClr val="68A3D8"/>
      </a:accent3>
      <a:accent4>
        <a:srgbClr val="DBDCDE"/>
      </a:accent4>
      <a:accent5>
        <a:srgbClr val="FF9966"/>
      </a:accent5>
      <a:accent6>
        <a:srgbClr val="FDB933"/>
      </a:accent6>
      <a:hlink>
        <a:srgbClr val="F8ED53"/>
      </a:hlink>
      <a:folHlink>
        <a:srgbClr val="808284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Тема Office">
  <a:themeElements>
    <a:clrScheme name="Илим от Савко">
      <a:dk1>
        <a:srgbClr val="161616"/>
      </a:dk1>
      <a:lt1>
        <a:srgbClr val="FFFFFF"/>
      </a:lt1>
      <a:dk2>
        <a:srgbClr val="F8ED53"/>
      </a:dk2>
      <a:lt2>
        <a:srgbClr val="7F7F7F"/>
      </a:lt2>
      <a:accent1>
        <a:srgbClr val="006736"/>
      </a:accent1>
      <a:accent2>
        <a:srgbClr val="82C45B"/>
      </a:accent2>
      <a:accent3>
        <a:srgbClr val="68A3D8"/>
      </a:accent3>
      <a:accent4>
        <a:srgbClr val="DBDCDE"/>
      </a:accent4>
      <a:accent5>
        <a:srgbClr val="FF9966"/>
      </a:accent5>
      <a:accent6>
        <a:srgbClr val="FDB933"/>
      </a:accent6>
      <a:hlink>
        <a:srgbClr val="F8ED53"/>
      </a:hlink>
      <a:folHlink>
        <a:srgbClr val="808284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ardcover</Template>
  <TotalTime>0</TotalTime>
  <Words>371</Words>
  <Application>Microsoft Office PowerPoint</Application>
  <PresentationFormat>Лист A4 (210x297 мм)</PresentationFormat>
  <Paragraphs>100</Paragraphs>
  <Slides>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6" baseType="lpstr">
      <vt:lpstr>Arial</vt:lpstr>
      <vt:lpstr>Wingdings</vt:lpstr>
      <vt:lpstr>Microsoft YaHei</vt:lpstr>
      <vt:lpstr>Calibri</vt:lpstr>
      <vt:lpstr>Тема Office</vt:lpstr>
      <vt:lpstr>5_Firm Format - Russian</vt:lpstr>
      <vt:lpstr>1_Тема Office</vt:lpstr>
      <vt:lpstr>2_Тема Office</vt:lpstr>
      <vt:lpstr>think-cell Slide</vt:lpstr>
      <vt:lpstr>Презентация PowerPoint</vt:lpstr>
      <vt:lpstr>Группа «Илим» сегодня </vt:lpstr>
      <vt:lpstr>Эффективная коммуникация на английском языке важна для конкурентоспособности на мировом рынке ЦБП</vt:lpstr>
      <vt:lpstr>Наша цель – Единый центр обслуживания</vt:lpstr>
      <vt:lpstr>Наш инструментарий</vt:lpstr>
      <vt:lpstr>Дальнейшие шаги. Вопросы для обсуждения</vt:lpstr>
      <vt:lpstr>Обратная связь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8-08T13:36:57Z</dcterms:created>
  <dcterms:modified xsi:type="dcterms:W3CDTF">2016-06-23T14:05:08Z</dcterms:modified>
</cp:coreProperties>
</file>